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344" r:id="rId2"/>
    <p:sldId id="384" r:id="rId3"/>
    <p:sldId id="391" r:id="rId4"/>
    <p:sldId id="390" r:id="rId5"/>
    <p:sldId id="352" r:id="rId6"/>
    <p:sldId id="392" r:id="rId7"/>
    <p:sldId id="355" r:id="rId8"/>
    <p:sldId id="356" r:id="rId9"/>
    <p:sldId id="357" r:id="rId10"/>
    <p:sldId id="358" r:id="rId11"/>
    <p:sldId id="359" r:id="rId12"/>
    <p:sldId id="394" r:id="rId13"/>
    <p:sldId id="393" r:id="rId14"/>
    <p:sldId id="395" r:id="rId15"/>
    <p:sldId id="396" r:id="rId16"/>
    <p:sldId id="397" r:id="rId17"/>
    <p:sldId id="398" r:id="rId18"/>
    <p:sldId id="386" r:id="rId19"/>
    <p:sldId id="368" r:id="rId20"/>
    <p:sldId id="399" r:id="rId21"/>
    <p:sldId id="371" r:id="rId22"/>
    <p:sldId id="400" r:id="rId23"/>
    <p:sldId id="374" r:id="rId24"/>
    <p:sldId id="375" r:id="rId25"/>
    <p:sldId id="376" r:id="rId26"/>
    <p:sldId id="401" r:id="rId27"/>
    <p:sldId id="402" r:id="rId28"/>
    <p:sldId id="403" r:id="rId29"/>
    <p:sldId id="404" r:id="rId30"/>
    <p:sldId id="407" r:id="rId31"/>
    <p:sldId id="405" r:id="rId32"/>
    <p:sldId id="406" r:id="rId33"/>
    <p:sldId id="408" r:id="rId34"/>
    <p:sldId id="409" r:id="rId35"/>
    <p:sldId id="347" r:id="rId36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88748" autoAdjust="0"/>
  </p:normalViewPr>
  <p:slideViewPr>
    <p:cSldViewPr>
      <p:cViewPr>
        <p:scale>
          <a:sx n="70" d="100"/>
          <a:sy n="70" d="100"/>
        </p:scale>
        <p:origin x="-1164" y="-6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smtClean="0"/>
            <a:t>Security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20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20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800" dirty="0" smtClean="0"/>
            <a:t>Detect</a:t>
          </a:r>
          <a:endParaRPr lang="en-US" sz="18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20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20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Revoke access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20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2000"/>
        </a:p>
      </dgm:t>
    </dgm:pt>
    <dgm:pt modelId="{C35FC96E-9015-4790-BDC3-6E0D4D502FCB}">
      <dgm:prSet custT="1"/>
      <dgm:spPr/>
      <dgm:t>
        <a:bodyPr/>
        <a:lstStyle/>
        <a:p>
          <a:pPr rtl="0"/>
          <a:r>
            <a:rPr lang="en-US" sz="1800" dirty="0" smtClean="0"/>
            <a:t>Recover</a:t>
          </a:r>
          <a:endParaRPr lang="en-US" sz="1800" dirty="0"/>
        </a:p>
      </dgm:t>
    </dgm:pt>
    <dgm:pt modelId="{54165FB5-F7A3-4BBF-B199-2BE2BA410DE8}" type="parTrans" cxnId="{C159F786-ED38-476E-9CAF-598C4BA6A40C}">
      <dgm:prSet/>
      <dgm:spPr/>
      <dgm:t>
        <a:bodyPr/>
        <a:lstStyle/>
        <a:p>
          <a:endParaRPr lang="en-US" sz="2000"/>
        </a:p>
      </dgm:t>
    </dgm:pt>
    <dgm:pt modelId="{599E3296-C316-405C-B222-CEA737D995B5}" type="sibTrans" cxnId="{C159F786-ED38-476E-9CAF-598C4BA6A40C}">
      <dgm:prSet/>
      <dgm:spPr/>
      <dgm:t>
        <a:bodyPr/>
        <a:lstStyle/>
        <a:p>
          <a:endParaRPr lang="en-US" sz="2000"/>
        </a:p>
      </dgm:t>
    </dgm:pt>
    <dgm:pt modelId="{AFCA2418-8D6B-4E9C-BE52-FC74C908050F}">
      <dgm:prSet custT="1"/>
      <dgm:spPr/>
      <dgm:t>
        <a:bodyPr/>
        <a:lstStyle/>
        <a:p>
          <a:pPr rtl="0"/>
          <a:r>
            <a:rPr lang="en-US" sz="1600" b="0" u="none" dirty="0" smtClean="0"/>
            <a:t>Maintain Audit trail</a:t>
          </a:r>
          <a:endParaRPr lang="en-US" sz="1600" b="0" u="none" dirty="0"/>
        </a:p>
      </dgm:t>
    </dgm:pt>
    <dgm:pt modelId="{4E25AF54-5C18-4905-8913-7D1EA2AC6905}" type="parTrans" cxnId="{482DB792-4616-4429-8146-834A4E403FCA}">
      <dgm:prSet/>
      <dgm:spPr/>
      <dgm:t>
        <a:bodyPr/>
        <a:lstStyle/>
        <a:p>
          <a:endParaRPr lang="en-US" sz="2000"/>
        </a:p>
      </dgm:t>
    </dgm:pt>
    <dgm:pt modelId="{2863A287-FD1D-46AB-958E-D6DB7D840902}" type="sibTrans" cxnId="{482DB792-4616-4429-8146-834A4E403FCA}">
      <dgm:prSet/>
      <dgm:spPr/>
      <dgm:t>
        <a:bodyPr/>
        <a:lstStyle/>
        <a:p>
          <a:endParaRPr lang="en-US" sz="20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800" dirty="0" smtClean="0"/>
            <a:t>Resist/ Prevent</a:t>
          </a:r>
          <a:endParaRPr lang="en-US" sz="18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800" dirty="0" smtClean="0"/>
            <a:t>React</a:t>
          </a:r>
          <a:endParaRPr lang="en-US" sz="18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/>
        </a:p>
      </dgm:t>
    </dgm:pt>
    <dgm:pt modelId="{C6E107C8-C87F-4E03-9C51-3B0FC309122B}">
      <dgm:prSet custT="1"/>
      <dgm:spPr/>
      <dgm:t>
        <a:bodyPr/>
        <a:lstStyle/>
        <a:p>
          <a:pPr rtl="0"/>
          <a:r>
            <a:rPr lang="en-US" sz="1600" dirty="0" smtClean="0"/>
            <a:t>Restore</a:t>
          </a:r>
          <a:endParaRPr lang="en-US" sz="1600" dirty="0"/>
        </a:p>
      </dgm:t>
    </dgm:pt>
    <dgm:pt modelId="{645C00E4-762B-4277-AD48-4328B4AF7430}" type="parTrans" cxnId="{AF611182-AAE8-4190-BE35-A2473E50306B}">
      <dgm:prSet/>
      <dgm:spPr/>
      <dgm:t>
        <a:bodyPr/>
        <a:lstStyle/>
        <a:p>
          <a:endParaRPr lang="en-US"/>
        </a:p>
      </dgm:t>
    </dgm:pt>
    <dgm:pt modelId="{E622C44F-BC5B-49E7-9D58-720E5F6040E1}" type="sibTrans" cxnId="{AF611182-AAE8-4190-BE35-A2473E50306B}">
      <dgm:prSet/>
      <dgm:spPr/>
      <dgm:t>
        <a:bodyPr/>
        <a:lstStyle/>
        <a:p>
          <a:endParaRPr lang="en-US"/>
        </a:p>
      </dgm:t>
    </dgm:pt>
    <dgm:pt modelId="{09967023-FD4B-4E34-A1C9-A393B75E32BA}">
      <dgm:prSet custT="1"/>
      <dgm:spPr/>
      <dgm:t>
        <a:bodyPr/>
        <a:lstStyle/>
        <a:p>
          <a:pPr rtl="0"/>
          <a:r>
            <a:rPr lang="en-US" sz="1600" dirty="0" smtClean="0"/>
            <a:t>Use availability tactics</a:t>
          </a:r>
          <a:endParaRPr lang="en-US" sz="1600" dirty="0"/>
        </a:p>
      </dgm:t>
    </dgm:pt>
    <dgm:pt modelId="{28774598-E592-4921-B255-0225EB6D096E}" type="parTrans" cxnId="{DB925F6A-7761-4D5E-84C9-D63652FE2570}">
      <dgm:prSet/>
      <dgm:spPr/>
      <dgm:t>
        <a:bodyPr/>
        <a:lstStyle/>
        <a:p>
          <a:endParaRPr lang="en-US"/>
        </a:p>
      </dgm:t>
    </dgm:pt>
    <dgm:pt modelId="{0B7B4A03-7BEB-45DD-A62C-7505C5BC4A5B}" type="sibTrans" cxnId="{DB925F6A-7761-4D5E-84C9-D63652FE2570}">
      <dgm:prSet/>
      <dgm:spPr/>
      <dgm:t>
        <a:bodyPr/>
        <a:lstStyle/>
        <a:p>
          <a:endParaRPr lang="en-US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Lock system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/>
        </a:p>
      </dgm:t>
    </dgm:pt>
    <dgm:pt modelId="{49742260-F14F-4BCB-8D88-ADD2EB5024EC}">
      <dgm:prSet custT="1"/>
      <dgm:spPr/>
      <dgm:t>
        <a:bodyPr/>
        <a:lstStyle/>
        <a:p>
          <a:pPr rtl="0"/>
          <a:r>
            <a:rPr lang="en-US" sz="1600" dirty="0" smtClean="0"/>
            <a:t>Alert actors</a:t>
          </a:r>
          <a:endParaRPr lang="en-US" sz="1600" dirty="0"/>
        </a:p>
      </dgm:t>
    </dgm:pt>
    <dgm:pt modelId="{9275B05E-F520-4192-9B33-84AEEBC3F62D}" type="parTrans" cxnId="{A0E66910-A417-4433-846A-E364FADC3533}">
      <dgm:prSet/>
      <dgm:spPr/>
      <dgm:t>
        <a:bodyPr/>
        <a:lstStyle/>
        <a:p>
          <a:endParaRPr lang="en-US"/>
        </a:p>
      </dgm:t>
    </dgm:pt>
    <dgm:pt modelId="{BDB94797-518D-4543-8D6F-13596FEC7A22}" type="sibTrans" cxnId="{A0E66910-A417-4433-846A-E364FADC3533}">
      <dgm:prSet/>
      <dgm:spPr/>
      <dgm:t>
        <a:bodyPr/>
        <a:lstStyle/>
        <a:p>
          <a:endParaRPr lang="en-US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600" dirty="0" smtClean="0"/>
            <a:t>Identify actors</a:t>
          </a:r>
          <a:endParaRPr lang="en-US" sz="16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/>
        </a:p>
      </dgm:t>
    </dgm:pt>
    <dgm:pt modelId="{90833815-F732-45AF-B735-7A208BE16A8A}">
      <dgm:prSet custT="1"/>
      <dgm:spPr/>
      <dgm:t>
        <a:bodyPr/>
        <a:lstStyle/>
        <a:p>
          <a:pPr rtl="0"/>
          <a:r>
            <a:rPr lang="en-US" sz="1600" dirty="0" smtClean="0"/>
            <a:t>Authenticate and authorize actors</a:t>
          </a:r>
          <a:endParaRPr lang="en-US" sz="1600" dirty="0"/>
        </a:p>
      </dgm:t>
    </dgm:pt>
    <dgm:pt modelId="{62301F5E-BDD5-4369-B9CF-5999FECA1C85}" type="parTrans" cxnId="{A630084D-67F8-48A7-9951-F46F3604D1B4}">
      <dgm:prSet/>
      <dgm:spPr/>
      <dgm:t>
        <a:bodyPr/>
        <a:lstStyle/>
        <a:p>
          <a:endParaRPr lang="en-US"/>
        </a:p>
      </dgm:t>
    </dgm:pt>
    <dgm:pt modelId="{7A88FAF5-FAAB-4848-B347-2B42AF8023FF}" type="sibTrans" cxnId="{A630084D-67F8-48A7-9951-F46F3604D1B4}">
      <dgm:prSet/>
      <dgm:spPr/>
      <dgm:t>
        <a:bodyPr/>
        <a:lstStyle/>
        <a:p>
          <a:endParaRPr lang="en-US"/>
        </a:p>
      </dgm:t>
    </dgm:pt>
    <dgm:pt modelId="{2F6572D1-3E4E-41CC-B816-15F6AA753750}">
      <dgm:prSet custT="1"/>
      <dgm:spPr/>
      <dgm:t>
        <a:bodyPr/>
        <a:lstStyle/>
        <a:p>
          <a:pPr rtl="0"/>
          <a:r>
            <a:rPr lang="en-US" sz="1600" dirty="0" smtClean="0"/>
            <a:t>Limit access and exposure</a:t>
          </a:r>
          <a:endParaRPr lang="en-US" sz="1600" dirty="0"/>
        </a:p>
      </dgm:t>
    </dgm:pt>
    <dgm:pt modelId="{453F9760-1876-428B-8CB6-DA8F60516D89}" type="parTrans" cxnId="{06E71150-3811-4FC5-8858-0203DD6C998E}">
      <dgm:prSet/>
      <dgm:spPr/>
      <dgm:t>
        <a:bodyPr/>
        <a:lstStyle/>
        <a:p>
          <a:endParaRPr lang="en-US"/>
        </a:p>
      </dgm:t>
    </dgm:pt>
    <dgm:pt modelId="{F36BC338-6ADD-4D27-8F50-A2943AF092AF}" type="sibTrans" cxnId="{06E71150-3811-4FC5-8858-0203DD6C998E}">
      <dgm:prSet/>
      <dgm:spPr/>
      <dgm:t>
        <a:bodyPr/>
        <a:lstStyle/>
        <a:p>
          <a:endParaRPr lang="en-US"/>
        </a:p>
      </dgm:t>
    </dgm:pt>
    <dgm:pt modelId="{CFEBB133-5D80-4E9D-815E-BA7E2B5804D2}">
      <dgm:prSet custT="1"/>
      <dgm:spPr/>
      <dgm:t>
        <a:bodyPr/>
        <a:lstStyle/>
        <a:p>
          <a:pPr rtl="0"/>
          <a:r>
            <a:rPr lang="en-US" sz="1600" dirty="0" smtClean="0"/>
            <a:t>Maintain data confidentiality</a:t>
          </a:r>
          <a:endParaRPr lang="en-US" sz="1600" dirty="0"/>
        </a:p>
      </dgm:t>
    </dgm:pt>
    <dgm:pt modelId="{6C5C9B86-7AAA-465B-98FF-E3F38189A3AE}" type="parTrans" cxnId="{7E8A394C-0B32-41E9-BC7B-038412EB61D4}">
      <dgm:prSet/>
      <dgm:spPr/>
      <dgm:t>
        <a:bodyPr/>
        <a:lstStyle/>
        <a:p>
          <a:endParaRPr lang="en-US"/>
        </a:p>
      </dgm:t>
    </dgm:pt>
    <dgm:pt modelId="{7FDECB7D-540F-4AC8-A911-0EDE43878630}" type="sibTrans" cxnId="{7E8A394C-0B32-41E9-BC7B-038412EB61D4}">
      <dgm:prSet/>
      <dgm:spPr/>
      <dgm:t>
        <a:bodyPr/>
        <a:lstStyle/>
        <a:p>
          <a:endParaRPr lang="en-US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600" dirty="0" smtClean="0"/>
            <a:t>Intrusion detection</a:t>
          </a:r>
          <a:endParaRPr lang="en-US" sz="16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600" dirty="0" smtClean="0"/>
            <a:t>Detect service denial</a:t>
          </a:r>
          <a:endParaRPr lang="en-US" sz="16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600" dirty="0" smtClean="0"/>
            <a:t>Verify message integrity</a:t>
          </a:r>
          <a:endParaRPr lang="en-US" sz="16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/>
        </a:p>
      </dgm:t>
    </dgm:pt>
    <dgm:pt modelId="{0B5A8C4E-0287-4775-89CD-4F33BAC9506F}">
      <dgm:prSet custT="1"/>
      <dgm:spPr/>
      <dgm:t>
        <a:bodyPr/>
        <a:lstStyle/>
        <a:p>
          <a:pPr rtl="0"/>
          <a:r>
            <a:rPr lang="en-US" sz="1600" dirty="0" smtClean="0"/>
            <a:t>Detect message delay</a:t>
          </a:r>
          <a:endParaRPr lang="en-US" sz="1600" dirty="0"/>
        </a:p>
      </dgm:t>
    </dgm:pt>
    <dgm:pt modelId="{EF032B47-594B-4FE2-82AA-11F85DCB3B05}" type="parTrans" cxnId="{BF0DC91D-EC32-48A1-86C8-FAB69550103E}">
      <dgm:prSet/>
      <dgm:spPr/>
      <dgm:t>
        <a:bodyPr/>
        <a:lstStyle/>
        <a:p>
          <a:endParaRPr lang="en-US"/>
        </a:p>
      </dgm:t>
    </dgm:pt>
    <dgm:pt modelId="{54EDCA25-2AA2-4C65-8635-EE0E2A7EF78B}" type="sibTrans" cxnId="{BF0DC91D-EC32-48A1-86C8-FAB69550103E}">
      <dgm:prSet/>
      <dgm:spPr/>
      <dgm:t>
        <a:bodyPr/>
        <a:lstStyle/>
        <a:p>
          <a:endParaRPr lang="en-US"/>
        </a:p>
      </dgm:t>
    </dgm:pt>
    <dgm:pt modelId="{52015A54-073D-4B92-8FF1-0F1F5FE1561A}">
      <dgm:prSet custT="1"/>
      <dgm:spPr/>
      <dgm:t>
        <a:bodyPr/>
        <a:lstStyle/>
        <a:p>
          <a:pPr rtl="0"/>
          <a:r>
            <a:rPr lang="en-US" sz="1600" dirty="0" smtClean="0"/>
            <a:t>Change default setting</a:t>
          </a:r>
          <a:endParaRPr lang="en-US" sz="1600" dirty="0"/>
        </a:p>
      </dgm:t>
    </dgm:pt>
    <dgm:pt modelId="{B8FD3D24-FF5C-481A-BFA0-ACCFF5DDB239}" type="parTrans" cxnId="{D5303A83-A782-4BB6-B537-EB76AE21A31F}">
      <dgm:prSet/>
      <dgm:spPr/>
      <dgm:t>
        <a:bodyPr/>
        <a:lstStyle/>
        <a:p>
          <a:endParaRPr lang="en-US"/>
        </a:p>
      </dgm:t>
    </dgm:pt>
    <dgm:pt modelId="{D70B0E39-2F64-4487-9F50-BA872A45E49A}" type="sibTrans" cxnId="{D5303A83-A782-4BB6-B537-EB76AE21A31F}">
      <dgm:prSet/>
      <dgm:spPr/>
      <dgm:t>
        <a:bodyPr/>
        <a:lstStyle/>
        <a:p>
          <a:endParaRPr lang="en-US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</dgm:pt>
    <dgm:pt modelId="{305CB9B7-E4C6-453D-AC39-1DA3FA25C576}" type="pres">
      <dgm:prSet presAssocID="{43BDC9E6-B3ED-4E11-B81F-A36F96CA06AD}" presName="rootComposite1" presStyleCnt="0"/>
      <dgm:spPr/>
    </dgm:pt>
    <dgm:pt modelId="{1AD90FEA-3135-49C2-A3C0-CFEDDC6405B3}" type="pres">
      <dgm:prSet presAssocID="{43BDC9E6-B3ED-4E11-B81F-A36F96CA06AD}" presName="rootText1" presStyleLbl="node0" presStyleIdx="0" presStyleCnt="1" custScaleX="217502" custScaleY="68885" custLinFactNeighborX="29763" custLinFactNeighborY="-8477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</dgm:pt>
    <dgm:pt modelId="{A3BC68A0-CABF-4126-884C-C90818E1E26E}" type="pres">
      <dgm:prSet presAssocID="{3EEFE082-C4FA-499A-BA01-E4B8217A4B73}" presName="Name37" presStyleLbl="parChTrans1D2" presStyleIdx="0" presStyleCnt="4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</dgm:pt>
    <dgm:pt modelId="{F324FB99-E565-440D-9319-A2867DA87756}" type="pres">
      <dgm:prSet presAssocID="{843E3B21-DC9F-4CF8-A7F1-93BF704E47A7}" presName="rootComposite" presStyleCnt="0"/>
      <dgm:spPr/>
    </dgm:pt>
    <dgm:pt modelId="{5E5C4910-D5C2-4117-9825-0F4E2308A1D4}" type="pres">
      <dgm:prSet presAssocID="{843E3B21-DC9F-4CF8-A7F1-93BF704E47A7}" presName="rootText" presStyleLbl="node2" presStyleIdx="0" presStyleCnt="4" custScaleY="90886" custLinFactNeighborX="17220" custLinFactNeighborY="2220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4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</dgm:pt>
    <dgm:pt modelId="{A83ED5F7-10A0-45C9-B814-5804FA76917E}" type="pres">
      <dgm:prSet presAssocID="{3722DDF4-26E2-4422-A516-DEEAC3ECF65B}" presName="Name37" presStyleLbl="parChTrans1D3" presStyleIdx="0" presStyleCnt="14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</dgm:pt>
    <dgm:pt modelId="{F340CB26-8421-44AC-9592-9BB7E87D96B8}" type="pres">
      <dgm:prSet presAssocID="{720AE7B9-47AD-4FF9-8447-DF1B8C5FD193}" presName="rootComposite" presStyleCnt="0"/>
      <dgm:spPr/>
    </dgm:pt>
    <dgm:pt modelId="{1064D61A-5C37-497D-A6F5-6312AB6E3F5A}" type="pres">
      <dgm:prSet presAssocID="{720AE7B9-47AD-4FF9-8447-DF1B8C5FD193}" presName="rootText" presStyleLbl="node3" presStyleIdx="0" presStyleCnt="14" custScaleX="133045" custScaleY="119763" custLinFactY="39326" custLinFactNeighborX="3459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14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</dgm:pt>
    <dgm:pt modelId="{72F3B94E-5E2C-4DF9-BCD5-3D635951032C}" type="pres">
      <dgm:prSet presAssocID="{720AE7B9-47AD-4FF9-8447-DF1B8C5FD193}" presName="hierChild5" presStyleCnt="0"/>
      <dgm:spPr/>
    </dgm:pt>
    <dgm:pt modelId="{A2B3E9C0-0CE1-4B88-9E71-F7CE1A7F99D7}" type="pres">
      <dgm:prSet presAssocID="{14236E25-24F5-4DBC-8E23-FED5A30DEF0E}" presName="Name37" presStyleLbl="parChTrans1D3" presStyleIdx="1" presStyleCnt="14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</dgm:pt>
    <dgm:pt modelId="{4DFEF789-40AF-4966-81EA-F7C1CBE52773}" type="pres">
      <dgm:prSet presAssocID="{7D7C3FA2-CE75-4B7D-A218-416906B8D917}" presName="rootComposite" presStyleCnt="0"/>
      <dgm:spPr/>
    </dgm:pt>
    <dgm:pt modelId="{A77E27D0-EFD7-495B-9E1A-5A5371B8AB84}" type="pres">
      <dgm:prSet presAssocID="{7D7C3FA2-CE75-4B7D-A218-416906B8D917}" presName="rootText" presStyleLbl="node3" presStyleIdx="1" presStyleCnt="14" custScaleX="130963" custScaleY="119096" custLinFactY="32613" custLinFactNeighborX="36672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14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</dgm:pt>
    <dgm:pt modelId="{E1079AD2-0C8E-44F0-9596-6D504E6161CE}" type="pres">
      <dgm:prSet presAssocID="{7D7C3FA2-CE75-4B7D-A218-416906B8D917}" presName="hierChild5" presStyleCnt="0"/>
      <dgm:spPr/>
    </dgm:pt>
    <dgm:pt modelId="{50C84909-550F-4BDC-8966-B86E5E1786AE}" type="pres">
      <dgm:prSet presAssocID="{359E2506-5D19-4F9C-8688-C666576175A9}" presName="Name37" presStyleLbl="parChTrans1D3" presStyleIdx="2" presStyleCnt="14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</dgm:pt>
    <dgm:pt modelId="{56A22D43-7DD1-46E6-B06A-D1D662EE6DAD}" type="pres">
      <dgm:prSet presAssocID="{9B931718-FC68-4B2E-9854-492BCFE6FE83}" presName="rootComposite" presStyleCnt="0"/>
      <dgm:spPr/>
    </dgm:pt>
    <dgm:pt modelId="{984A4F3B-0A00-4E5A-9092-1922B8A7FAB3}" type="pres">
      <dgm:prSet presAssocID="{9B931718-FC68-4B2E-9854-492BCFE6FE83}" presName="rootText" presStyleLbl="node3" presStyleIdx="2" presStyleCnt="14" custScaleX="133045" custScaleY="152685" custLinFactY="19953" custLinFactNeighborX="3459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14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</dgm:pt>
    <dgm:pt modelId="{4E3F742A-A2F5-4971-A026-90DA3CFE956C}" type="pres">
      <dgm:prSet presAssocID="{9B931718-FC68-4B2E-9854-492BCFE6FE83}" presName="hierChild5" presStyleCnt="0"/>
      <dgm:spPr/>
    </dgm:pt>
    <dgm:pt modelId="{6262AD45-37CE-4E4E-81E1-98A75BFFED33}" type="pres">
      <dgm:prSet presAssocID="{EF032B47-594B-4FE2-82AA-11F85DCB3B05}" presName="Name37" presStyleLbl="parChTrans1D3" presStyleIdx="3" presStyleCnt="14"/>
      <dgm:spPr/>
      <dgm:t>
        <a:bodyPr/>
        <a:lstStyle/>
        <a:p>
          <a:endParaRPr lang="en-US"/>
        </a:p>
      </dgm:t>
    </dgm:pt>
    <dgm:pt modelId="{3BDA7C33-CC97-412E-A3EC-9F252E4F5A5A}" type="pres">
      <dgm:prSet presAssocID="{0B5A8C4E-0287-4775-89CD-4F33BAC9506F}" presName="hierRoot2" presStyleCnt="0">
        <dgm:presLayoutVars>
          <dgm:hierBranch val="init"/>
        </dgm:presLayoutVars>
      </dgm:prSet>
      <dgm:spPr/>
    </dgm:pt>
    <dgm:pt modelId="{2723E1CD-4CEE-4F07-87CD-20B12A8FC827}" type="pres">
      <dgm:prSet presAssocID="{0B5A8C4E-0287-4775-89CD-4F33BAC9506F}" presName="rootComposite" presStyleCnt="0"/>
      <dgm:spPr/>
    </dgm:pt>
    <dgm:pt modelId="{E8D3E92A-0794-4DFF-ADF5-83A9F9869BDA}" type="pres">
      <dgm:prSet presAssocID="{0B5A8C4E-0287-4775-89CD-4F33BAC9506F}" presName="rootText" presStyleLbl="node3" presStyleIdx="3" presStyleCnt="14" custScaleX="147937" custScaleY="123563" custLinFactY="23643" custLinFactNeighborX="19698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F391C2-584B-4F01-9A6E-BB77AA2A997A}" type="pres">
      <dgm:prSet presAssocID="{0B5A8C4E-0287-4775-89CD-4F33BAC9506F}" presName="rootConnector" presStyleLbl="node3" presStyleIdx="3" presStyleCnt="14"/>
      <dgm:spPr/>
      <dgm:t>
        <a:bodyPr/>
        <a:lstStyle/>
        <a:p>
          <a:endParaRPr lang="en-US"/>
        </a:p>
      </dgm:t>
    </dgm:pt>
    <dgm:pt modelId="{B2E11ABB-6C93-42E1-91A1-DB542954BA14}" type="pres">
      <dgm:prSet presAssocID="{0B5A8C4E-0287-4775-89CD-4F33BAC9506F}" presName="hierChild4" presStyleCnt="0"/>
      <dgm:spPr/>
    </dgm:pt>
    <dgm:pt modelId="{7916A290-6350-41CF-9D02-42ED9408F54E}" type="pres">
      <dgm:prSet presAssocID="{0B5A8C4E-0287-4775-89CD-4F33BAC9506F}" presName="hierChild5" presStyleCnt="0"/>
      <dgm:spPr/>
    </dgm:pt>
    <dgm:pt modelId="{82355405-192E-42E7-B905-7A6FE845C6D9}" type="pres">
      <dgm:prSet presAssocID="{843E3B21-DC9F-4CF8-A7F1-93BF704E47A7}" presName="hierChild5" presStyleCnt="0"/>
      <dgm:spPr/>
    </dgm:pt>
    <dgm:pt modelId="{96956835-3386-449C-A89B-65F7C680246D}" type="pres">
      <dgm:prSet presAssocID="{65D088B7-B36E-49AA-84B9-2BC51B326EA1}" presName="Name37" presStyleLbl="parChTrans1D2" presStyleIdx="1" presStyleCnt="4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</dgm:pt>
    <dgm:pt modelId="{72B31F8C-4060-4D82-8D0A-8A332812C464}" type="pres">
      <dgm:prSet presAssocID="{E420C67E-C4C2-476B-9B47-FFB47D587009}" presName="rootComposite" presStyleCnt="0"/>
      <dgm:spPr/>
    </dgm:pt>
    <dgm:pt modelId="{F0ED6141-24DB-4164-A2D4-B51E750525CD}" type="pres">
      <dgm:prSet presAssocID="{E420C67E-C4C2-476B-9B47-FFB47D587009}" presName="rootText" presStyleLbl="node2" presStyleIdx="1" presStyleCnt="4" custLinFactNeighborX="65595" custLinFactNeighborY="2929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4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</dgm:pt>
    <dgm:pt modelId="{CC07306D-4BD7-4477-BB61-A954489058D6}" type="pres">
      <dgm:prSet presAssocID="{C3334397-F4C9-43FD-9DE7-786437A51BF8}" presName="Name37" presStyleLbl="parChTrans1D3" presStyleIdx="4" presStyleCnt="14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</dgm:pt>
    <dgm:pt modelId="{9D96850F-E3A0-4435-B942-5F48B18AC5F4}" type="pres">
      <dgm:prSet presAssocID="{0216D3CF-84E5-4443-8082-6C6C297E9A4D}" presName="rootComposite" presStyleCnt="0"/>
      <dgm:spPr/>
    </dgm:pt>
    <dgm:pt modelId="{CBCDE87F-FA6C-44B8-A9C2-1E747BE7F736}" type="pres">
      <dgm:prSet presAssocID="{0216D3CF-84E5-4443-8082-6C6C297E9A4D}" presName="rootText" presStyleLbl="node3" presStyleIdx="4" presStyleCnt="14" custScaleX="130737" custLinFactY="2590" custLinFactNeighborX="60785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4" presStyleCnt="14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</dgm:pt>
    <dgm:pt modelId="{7BCCCAFF-8404-460B-9A5A-B8BF91057993}" type="pres">
      <dgm:prSet presAssocID="{0216D3CF-84E5-4443-8082-6C6C297E9A4D}" presName="hierChild5" presStyleCnt="0"/>
      <dgm:spPr/>
    </dgm:pt>
    <dgm:pt modelId="{FE10A4AF-D8A8-4F2D-9661-56E5DBB5B2C5}" type="pres">
      <dgm:prSet presAssocID="{62301F5E-BDD5-4369-B9CF-5999FECA1C85}" presName="Name37" presStyleLbl="parChTrans1D3" presStyleIdx="5" presStyleCnt="14"/>
      <dgm:spPr/>
      <dgm:t>
        <a:bodyPr/>
        <a:lstStyle/>
        <a:p>
          <a:endParaRPr lang="en-US"/>
        </a:p>
      </dgm:t>
    </dgm:pt>
    <dgm:pt modelId="{6E36B90A-357D-4409-934D-6F40EC568AE0}" type="pres">
      <dgm:prSet presAssocID="{90833815-F732-45AF-B735-7A208BE16A8A}" presName="hierRoot2" presStyleCnt="0">
        <dgm:presLayoutVars>
          <dgm:hierBranch val="init"/>
        </dgm:presLayoutVars>
      </dgm:prSet>
      <dgm:spPr/>
    </dgm:pt>
    <dgm:pt modelId="{AB55976F-0A75-48BF-8621-9232364F260E}" type="pres">
      <dgm:prSet presAssocID="{90833815-F732-45AF-B735-7A208BE16A8A}" presName="rootComposite" presStyleCnt="0"/>
      <dgm:spPr/>
    </dgm:pt>
    <dgm:pt modelId="{5D0F02D1-4A23-4B53-AF4F-3529BE69829E}" type="pres">
      <dgm:prSet presAssocID="{90833815-F732-45AF-B735-7A208BE16A8A}" presName="rootText" presStyleLbl="node3" presStyleIdx="5" presStyleCnt="14" custScaleX="173065" custScaleY="132413" custLinFactNeighborX="60785" custLinFactNeighborY="7638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F15CAA-9BF1-4437-B877-2B6831555847}" type="pres">
      <dgm:prSet presAssocID="{90833815-F732-45AF-B735-7A208BE16A8A}" presName="rootConnector" presStyleLbl="node3" presStyleIdx="5" presStyleCnt="14"/>
      <dgm:spPr/>
      <dgm:t>
        <a:bodyPr/>
        <a:lstStyle/>
        <a:p>
          <a:endParaRPr lang="en-US"/>
        </a:p>
      </dgm:t>
    </dgm:pt>
    <dgm:pt modelId="{8EE5665B-F21D-4DA6-A444-6C77DD3C6F95}" type="pres">
      <dgm:prSet presAssocID="{90833815-F732-45AF-B735-7A208BE16A8A}" presName="hierChild4" presStyleCnt="0"/>
      <dgm:spPr/>
    </dgm:pt>
    <dgm:pt modelId="{F1F43870-C4AC-4AF4-AB05-6A054FC06D63}" type="pres">
      <dgm:prSet presAssocID="{90833815-F732-45AF-B735-7A208BE16A8A}" presName="hierChild5" presStyleCnt="0"/>
      <dgm:spPr/>
    </dgm:pt>
    <dgm:pt modelId="{1D4D3FE4-1739-4B3C-ACD2-597D18FBC50F}" type="pres">
      <dgm:prSet presAssocID="{453F9760-1876-428B-8CB6-DA8F60516D89}" presName="Name37" presStyleLbl="parChTrans1D3" presStyleIdx="6" presStyleCnt="14"/>
      <dgm:spPr/>
      <dgm:t>
        <a:bodyPr/>
        <a:lstStyle/>
        <a:p>
          <a:endParaRPr lang="en-US"/>
        </a:p>
      </dgm:t>
    </dgm:pt>
    <dgm:pt modelId="{9115B6B6-EA79-4FE0-843B-D82CDE234246}" type="pres">
      <dgm:prSet presAssocID="{2F6572D1-3E4E-41CC-B816-15F6AA753750}" presName="hierRoot2" presStyleCnt="0">
        <dgm:presLayoutVars>
          <dgm:hierBranch val="init"/>
        </dgm:presLayoutVars>
      </dgm:prSet>
      <dgm:spPr/>
    </dgm:pt>
    <dgm:pt modelId="{B54B6D9A-0CB7-42FF-A0FD-F2137F2080D7}" type="pres">
      <dgm:prSet presAssocID="{2F6572D1-3E4E-41CC-B816-15F6AA753750}" presName="rootComposite" presStyleCnt="0"/>
      <dgm:spPr/>
    </dgm:pt>
    <dgm:pt modelId="{7BABB840-5689-4566-85C9-55C4A127C4C6}" type="pres">
      <dgm:prSet presAssocID="{2F6572D1-3E4E-41CC-B816-15F6AA753750}" presName="rootText" presStyleLbl="node3" presStyleIdx="6" presStyleCnt="14" custScaleX="151679" custLinFactNeighborX="60785" custLinFactNeighborY="7017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3C99CCA-0A47-4420-ABC8-53654C0C3796}" type="pres">
      <dgm:prSet presAssocID="{2F6572D1-3E4E-41CC-B816-15F6AA753750}" presName="rootConnector" presStyleLbl="node3" presStyleIdx="6" presStyleCnt="14"/>
      <dgm:spPr/>
      <dgm:t>
        <a:bodyPr/>
        <a:lstStyle/>
        <a:p>
          <a:endParaRPr lang="en-US"/>
        </a:p>
      </dgm:t>
    </dgm:pt>
    <dgm:pt modelId="{0D889D42-77FB-49A7-B6E8-3A8C670AFEAD}" type="pres">
      <dgm:prSet presAssocID="{2F6572D1-3E4E-41CC-B816-15F6AA753750}" presName="hierChild4" presStyleCnt="0"/>
      <dgm:spPr/>
    </dgm:pt>
    <dgm:pt modelId="{6BE4F57E-EC21-4523-B1EB-3AEDD24C4D44}" type="pres">
      <dgm:prSet presAssocID="{2F6572D1-3E4E-41CC-B816-15F6AA753750}" presName="hierChild5" presStyleCnt="0"/>
      <dgm:spPr/>
    </dgm:pt>
    <dgm:pt modelId="{3A94D9E8-C2A3-4765-9477-D710CC646957}" type="pres">
      <dgm:prSet presAssocID="{6C5C9B86-7AAA-465B-98FF-E3F38189A3AE}" presName="Name37" presStyleLbl="parChTrans1D3" presStyleIdx="7" presStyleCnt="14"/>
      <dgm:spPr/>
      <dgm:t>
        <a:bodyPr/>
        <a:lstStyle/>
        <a:p>
          <a:endParaRPr lang="en-US"/>
        </a:p>
      </dgm:t>
    </dgm:pt>
    <dgm:pt modelId="{2EAD44A1-134B-439B-87EC-257234921AE5}" type="pres">
      <dgm:prSet presAssocID="{CFEBB133-5D80-4E9D-815E-BA7E2B5804D2}" presName="hierRoot2" presStyleCnt="0">
        <dgm:presLayoutVars>
          <dgm:hierBranch val="init"/>
        </dgm:presLayoutVars>
      </dgm:prSet>
      <dgm:spPr/>
    </dgm:pt>
    <dgm:pt modelId="{2FB73BF3-3C5D-4AD3-9D1C-8A589100FCB7}" type="pres">
      <dgm:prSet presAssocID="{CFEBB133-5D80-4E9D-815E-BA7E2B5804D2}" presName="rootComposite" presStyleCnt="0"/>
      <dgm:spPr/>
    </dgm:pt>
    <dgm:pt modelId="{50D60845-A14B-4DD0-8DB4-8B07FEB31A21}" type="pres">
      <dgm:prSet presAssocID="{CFEBB133-5D80-4E9D-815E-BA7E2B5804D2}" presName="rootText" presStyleLbl="node3" presStyleIdx="7" presStyleCnt="14" custScaleX="163721" custLinFactNeighborX="60785" custLinFactNeighborY="7594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C39B9-C17D-4782-B68D-D9F73AAEE095}" type="pres">
      <dgm:prSet presAssocID="{CFEBB133-5D80-4E9D-815E-BA7E2B5804D2}" presName="rootConnector" presStyleLbl="node3" presStyleIdx="7" presStyleCnt="14"/>
      <dgm:spPr/>
      <dgm:t>
        <a:bodyPr/>
        <a:lstStyle/>
        <a:p>
          <a:endParaRPr lang="en-US"/>
        </a:p>
      </dgm:t>
    </dgm:pt>
    <dgm:pt modelId="{FE161E8F-9C2C-4330-91D6-9E6A7C6F19FB}" type="pres">
      <dgm:prSet presAssocID="{CFEBB133-5D80-4E9D-815E-BA7E2B5804D2}" presName="hierChild4" presStyleCnt="0"/>
      <dgm:spPr/>
    </dgm:pt>
    <dgm:pt modelId="{DCFA5C64-38E4-453B-BB1F-AE8ADB7F8B50}" type="pres">
      <dgm:prSet presAssocID="{CFEBB133-5D80-4E9D-815E-BA7E2B5804D2}" presName="hierChild5" presStyleCnt="0"/>
      <dgm:spPr/>
    </dgm:pt>
    <dgm:pt modelId="{6240857E-8E92-4FD3-BB54-32F6C167CD09}" type="pres">
      <dgm:prSet presAssocID="{B8FD3D24-FF5C-481A-BFA0-ACCFF5DDB239}" presName="Name37" presStyleLbl="parChTrans1D3" presStyleIdx="8" presStyleCnt="14"/>
      <dgm:spPr/>
      <dgm:t>
        <a:bodyPr/>
        <a:lstStyle/>
        <a:p>
          <a:endParaRPr lang="en-US"/>
        </a:p>
      </dgm:t>
    </dgm:pt>
    <dgm:pt modelId="{15B9C00A-6A73-4158-81BD-1F7308096CC8}" type="pres">
      <dgm:prSet presAssocID="{52015A54-073D-4B92-8FF1-0F1F5FE1561A}" presName="hierRoot2" presStyleCnt="0">
        <dgm:presLayoutVars>
          <dgm:hierBranch val="init"/>
        </dgm:presLayoutVars>
      </dgm:prSet>
      <dgm:spPr/>
    </dgm:pt>
    <dgm:pt modelId="{0B45F736-1A0E-4A7B-A649-FBC58E1CBB7D}" type="pres">
      <dgm:prSet presAssocID="{52015A54-073D-4B92-8FF1-0F1F5FE1561A}" presName="rootComposite" presStyleCnt="0"/>
      <dgm:spPr/>
    </dgm:pt>
    <dgm:pt modelId="{BD1C35E1-9751-4DD4-B9AF-1CFE8C8B4E70}" type="pres">
      <dgm:prSet presAssocID="{52015A54-073D-4B92-8FF1-0F1F5FE1561A}" presName="rootText" presStyleLbl="node3" presStyleIdx="8" presStyleCnt="14" custScaleX="180918" custLinFactNeighborX="60785" custLinFactNeighborY="680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9D97F7E-F6E2-4876-9CCF-33FF7FB7A306}" type="pres">
      <dgm:prSet presAssocID="{52015A54-073D-4B92-8FF1-0F1F5FE1561A}" presName="rootConnector" presStyleLbl="node3" presStyleIdx="8" presStyleCnt="14"/>
      <dgm:spPr/>
      <dgm:t>
        <a:bodyPr/>
        <a:lstStyle/>
        <a:p>
          <a:endParaRPr lang="en-US"/>
        </a:p>
      </dgm:t>
    </dgm:pt>
    <dgm:pt modelId="{29CC4417-FD35-462A-AB7F-4A305202200E}" type="pres">
      <dgm:prSet presAssocID="{52015A54-073D-4B92-8FF1-0F1F5FE1561A}" presName="hierChild4" presStyleCnt="0"/>
      <dgm:spPr/>
    </dgm:pt>
    <dgm:pt modelId="{9EF0C1A1-B522-4DAB-AD15-507C0F3FBD56}" type="pres">
      <dgm:prSet presAssocID="{52015A54-073D-4B92-8FF1-0F1F5FE1561A}" presName="hierChild5" presStyleCnt="0"/>
      <dgm:spPr/>
    </dgm:pt>
    <dgm:pt modelId="{1DBB8D6B-1EA9-448A-B87B-A162873E7B21}" type="pres">
      <dgm:prSet presAssocID="{E420C67E-C4C2-476B-9B47-FFB47D587009}" presName="hierChild5" presStyleCnt="0"/>
      <dgm:spPr/>
    </dgm:pt>
    <dgm:pt modelId="{C137CAE9-66E1-459B-A733-9B53B02E07AF}" type="pres">
      <dgm:prSet presAssocID="{6ED4E1AA-EFDD-4E70-836E-3DB36084DE98}" presName="Name37" presStyleLbl="parChTrans1D2" presStyleIdx="2" presStyleCnt="4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</dgm:pt>
    <dgm:pt modelId="{9DC86AED-B6DB-4100-9EA0-4E60FFB4A367}" type="pres">
      <dgm:prSet presAssocID="{1CE2D78B-C788-472A-8424-7F9A4AB5205E}" presName="rootComposite" presStyleCnt="0"/>
      <dgm:spPr/>
    </dgm:pt>
    <dgm:pt modelId="{A5F2589C-C16C-45F2-9A3D-F2A6CB2476D1}" type="pres">
      <dgm:prSet presAssocID="{1CE2D78B-C788-472A-8424-7F9A4AB5205E}" presName="rootText" presStyleLbl="node2" presStyleIdx="2" presStyleCnt="4" custScaleX="116568" custLinFactX="3180" custLinFactNeighborX="100000" custLinFactNeighborY="3464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4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</dgm:pt>
    <dgm:pt modelId="{AEDC7120-FE6F-49D8-95F2-AB1B2B6AC9A8}" type="pres">
      <dgm:prSet presAssocID="{F0BD47AB-7AC9-40A2-A96D-1A911EFDE7FF}" presName="Name37" presStyleLbl="parChTrans1D3" presStyleIdx="9" presStyleCnt="14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</dgm:pt>
    <dgm:pt modelId="{4413A7CD-B07B-4481-95F7-63264BEB8326}" type="pres">
      <dgm:prSet presAssocID="{A240A1E1-162D-4A6E-A806-B6FF45B3AB68}" presName="rootComposite" presStyleCnt="0"/>
      <dgm:spPr/>
    </dgm:pt>
    <dgm:pt modelId="{6E033C69-6BA8-4812-AE4E-0022A986E944}" type="pres">
      <dgm:prSet presAssocID="{A240A1E1-162D-4A6E-A806-B6FF45B3AB68}" presName="rootText" presStyleLbl="node3" presStyleIdx="9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9" presStyleCnt="14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</dgm:pt>
    <dgm:pt modelId="{A5F1F6CB-B812-4FEA-ACD0-E838992C8274}" type="pres">
      <dgm:prSet presAssocID="{A240A1E1-162D-4A6E-A806-B6FF45B3AB68}" presName="hierChild5" presStyleCnt="0"/>
      <dgm:spPr/>
    </dgm:pt>
    <dgm:pt modelId="{28E82B1A-B1F2-4CC5-9B64-B60015CBF624}" type="pres">
      <dgm:prSet presAssocID="{A60BCA66-49BB-4275-9110-8B471B3FC59B}" presName="Name37" presStyleLbl="parChTrans1D3" presStyleIdx="10" presStyleCnt="14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</dgm:pt>
    <dgm:pt modelId="{514CA667-AA27-4D37-9311-1D5D85EF643D}" type="pres">
      <dgm:prSet presAssocID="{35016019-1F0E-47A9-A9CB-AE98C0AFCFC1}" presName="rootComposite" presStyleCnt="0"/>
      <dgm:spPr/>
    </dgm:pt>
    <dgm:pt modelId="{428A54D9-43F6-47B6-B3A2-FDCE09CB5A97}" type="pres">
      <dgm:prSet presAssocID="{35016019-1F0E-47A9-A9CB-AE98C0AFCFC1}" presName="rootText" presStyleLbl="node3" presStyleIdx="10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10" presStyleCnt="14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</dgm:pt>
    <dgm:pt modelId="{A5D0575B-48E0-4A98-88E8-8B4961A6F762}" type="pres">
      <dgm:prSet presAssocID="{35016019-1F0E-47A9-A9CB-AE98C0AFCFC1}" presName="hierChild5" presStyleCnt="0"/>
      <dgm:spPr/>
    </dgm:pt>
    <dgm:pt modelId="{11628582-088E-42FA-B6EC-953F652565B0}" type="pres">
      <dgm:prSet presAssocID="{9275B05E-F520-4192-9B33-84AEEBC3F62D}" presName="Name37" presStyleLbl="parChTrans1D3" presStyleIdx="11" presStyleCnt="14"/>
      <dgm:spPr/>
      <dgm:t>
        <a:bodyPr/>
        <a:lstStyle/>
        <a:p>
          <a:endParaRPr lang="en-US"/>
        </a:p>
      </dgm:t>
    </dgm:pt>
    <dgm:pt modelId="{7E6CA653-D7FD-4B20-AE44-C1F44E30C01B}" type="pres">
      <dgm:prSet presAssocID="{49742260-F14F-4BCB-8D88-ADD2EB5024EC}" presName="hierRoot2" presStyleCnt="0">
        <dgm:presLayoutVars>
          <dgm:hierBranch val="init"/>
        </dgm:presLayoutVars>
      </dgm:prSet>
      <dgm:spPr/>
    </dgm:pt>
    <dgm:pt modelId="{E179F35A-A640-480A-9C40-3D39813B5DA3}" type="pres">
      <dgm:prSet presAssocID="{49742260-F14F-4BCB-8D88-ADD2EB5024EC}" presName="rootComposite" presStyleCnt="0"/>
      <dgm:spPr/>
    </dgm:pt>
    <dgm:pt modelId="{93507A0E-B606-4F7A-9C01-283769128FF2}" type="pres">
      <dgm:prSet presAssocID="{49742260-F14F-4BCB-8D88-ADD2EB5024EC}" presName="rootText" presStyleLbl="node3" presStyleIdx="11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7ED8CE-14CF-4D38-BE63-D19E93618025}" type="pres">
      <dgm:prSet presAssocID="{49742260-F14F-4BCB-8D88-ADD2EB5024EC}" presName="rootConnector" presStyleLbl="node3" presStyleIdx="11" presStyleCnt="14"/>
      <dgm:spPr/>
      <dgm:t>
        <a:bodyPr/>
        <a:lstStyle/>
        <a:p>
          <a:endParaRPr lang="en-US"/>
        </a:p>
      </dgm:t>
    </dgm:pt>
    <dgm:pt modelId="{D06BFE77-47E2-4E99-9240-F26F88BFBEAB}" type="pres">
      <dgm:prSet presAssocID="{49742260-F14F-4BCB-8D88-ADD2EB5024EC}" presName="hierChild4" presStyleCnt="0"/>
      <dgm:spPr/>
    </dgm:pt>
    <dgm:pt modelId="{801CA00E-B2B0-4EC5-9889-E9E28C332373}" type="pres">
      <dgm:prSet presAssocID="{49742260-F14F-4BCB-8D88-ADD2EB5024EC}" presName="hierChild5" presStyleCnt="0"/>
      <dgm:spPr/>
    </dgm:pt>
    <dgm:pt modelId="{528156B2-647C-44D5-ABAD-EBDCDF85B348}" type="pres">
      <dgm:prSet presAssocID="{1CE2D78B-C788-472A-8424-7F9A4AB5205E}" presName="hierChild5" presStyleCnt="0"/>
      <dgm:spPr/>
    </dgm:pt>
    <dgm:pt modelId="{B562ECC0-9994-4B01-9E77-D5C13C496118}" type="pres">
      <dgm:prSet presAssocID="{54165FB5-F7A3-4BBF-B199-2BE2BA410DE8}" presName="Name37" presStyleLbl="parChTrans1D2" presStyleIdx="3" presStyleCnt="4"/>
      <dgm:spPr/>
      <dgm:t>
        <a:bodyPr/>
        <a:lstStyle/>
        <a:p>
          <a:endParaRPr lang="en-US"/>
        </a:p>
      </dgm:t>
    </dgm:pt>
    <dgm:pt modelId="{E18799E9-9DA7-423F-B7B3-369EFE76B3B6}" type="pres">
      <dgm:prSet presAssocID="{C35FC96E-9015-4790-BDC3-6E0D4D502FCB}" presName="hierRoot2" presStyleCnt="0">
        <dgm:presLayoutVars>
          <dgm:hierBranch val="init"/>
        </dgm:presLayoutVars>
      </dgm:prSet>
      <dgm:spPr/>
    </dgm:pt>
    <dgm:pt modelId="{354F8417-6C70-4131-8450-E52EDD2EFA17}" type="pres">
      <dgm:prSet presAssocID="{C35FC96E-9015-4790-BDC3-6E0D4D502FCB}" presName="rootComposite" presStyleCnt="0"/>
      <dgm:spPr/>
    </dgm:pt>
    <dgm:pt modelId="{67A44139-B3F0-4118-89E8-A44A0D503C36}" type="pres">
      <dgm:prSet presAssocID="{C35FC96E-9015-4790-BDC3-6E0D4D502FCB}" presName="rootText" presStyleLbl="node2" presStyleIdx="3" presStyleCnt="4" custLinFactNeighborX="53438" custLinFactNeighborY="2985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2267437-59D9-4F70-9854-AF295901641A}" type="pres">
      <dgm:prSet presAssocID="{C35FC96E-9015-4790-BDC3-6E0D4D502FCB}" presName="rootConnector" presStyleLbl="node2" presStyleIdx="3" presStyleCnt="4"/>
      <dgm:spPr/>
      <dgm:t>
        <a:bodyPr/>
        <a:lstStyle/>
        <a:p>
          <a:endParaRPr lang="en-US"/>
        </a:p>
      </dgm:t>
    </dgm:pt>
    <dgm:pt modelId="{A6AF8EE9-DBFC-447B-8940-E76A065FD97B}" type="pres">
      <dgm:prSet presAssocID="{C35FC96E-9015-4790-BDC3-6E0D4D502FCB}" presName="hierChild4" presStyleCnt="0"/>
      <dgm:spPr/>
    </dgm:pt>
    <dgm:pt modelId="{2BC6CEE4-3F67-4FA6-8639-65EC4CCFF4D9}" type="pres">
      <dgm:prSet presAssocID="{4E25AF54-5C18-4905-8913-7D1EA2AC6905}" presName="Name37" presStyleLbl="parChTrans1D3" presStyleIdx="12" presStyleCnt="14"/>
      <dgm:spPr/>
      <dgm:t>
        <a:bodyPr/>
        <a:lstStyle/>
        <a:p>
          <a:endParaRPr lang="en-US"/>
        </a:p>
      </dgm:t>
    </dgm:pt>
    <dgm:pt modelId="{56EAD692-CF12-4F08-9E91-48B2A708FB71}" type="pres">
      <dgm:prSet presAssocID="{AFCA2418-8D6B-4E9C-BE52-FC74C908050F}" presName="hierRoot2" presStyleCnt="0">
        <dgm:presLayoutVars>
          <dgm:hierBranch val="init"/>
        </dgm:presLayoutVars>
      </dgm:prSet>
      <dgm:spPr/>
    </dgm:pt>
    <dgm:pt modelId="{17485795-B1F1-44AB-A6F9-533EF86E010F}" type="pres">
      <dgm:prSet presAssocID="{AFCA2418-8D6B-4E9C-BE52-FC74C908050F}" presName="rootComposite" presStyleCnt="0"/>
      <dgm:spPr/>
    </dgm:pt>
    <dgm:pt modelId="{1B4F947A-69EB-46FF-A1EA-7664283D213E}" type="pres">
      <dgm:prSet presAssocID="{AFCA2418-8D6B-4E9C-BE52-FC74C908050F}" presName="rootText" presStyleLbl="node3" presStyleIdx="12" presStyleCnt="14" custScaleX="167040" custScaleY="138944" custLinFactX="100000" custLinFactY="47441" custLinFactNeighborX="145609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553D0C6-AEE4-4F65-8DAC-62449D94D6A7}" type="pres">
      <dgm:prSet presAssocID="{AFCA2418-8D6B-4E9C-BE52-FC74C908050F}" presName="rootConnector" presStyleLbl="node3" presStyleIdx="12" presStyleCnt="14"/>
      <dgm:spPr/>
      <dgm:t>
        <a:bodyPr/>
        <a:lstStyle/>
        <a:p>
          <a:endParaRPr lang="en-US"/>
        </a:p>
      </dgm:t>
    </dgm:pt>
    <dgm:pt modelId="{704B6FE3-1A93-464C-BD7D-26786EA03069}" type="pres">
      <dgm:prSet presAssocID="{AFCA2418-8D6B-4E9C-BE52-FC74C908050F}" presName="hierChild4" presStyleCnt="0"/>
      <dgm:spPr/>
    </dgm:pt>
    <dgm:pt modelId="{DA9CB0A7-0D84-4FCC-8CAA-C663566F179D}" type="pres">
      <dgm:prSet presAssocID="{AFCA2418-8D6B-4E9C-BE52-FC74C908050F}" presName="hierChild5" presStyleCnt="0"/>
      <dgm:spPr/>
    </dgm:pt>
    <dgm:pt modelId="{981682D2-6375-4500-994F-C7CC83594561}" type="pres">
      <dgm:prSet presAssocID="{645C00E4-762B-4277-AD48-4328B4AF7430}" presName="Name37" presStyleLbl="parChTrans1D3" presStyleIdx="13" presStyleCnt="14"/>
      <dgm:spPr/>
      <dgm:t>
        <a:bodyPr/>
        <a:lstStyle/>
        <a:p>
          <a:endParaRPr lang="en-US"/>
        </a:p>
      </dgm:t>
    </dgm:pt>
    <dgm:pt modelId="{5AD24796-DC78-4C67-B9F3-06DC4CB79087}" type="pres">
      <dgm:prSet presAssocID="{C6E107C8-C87F-4E03-9C51-3B0FC309122B}" presName="hierRoot2" presStyleCnt="0">
        <dgm:presLayoutVars>
          <dgm:hierBranch val="init"/>
        </dgm:presLayoutVars>
      </dgm:prSet>
      <dgm:spPr/>
    </dgm:pt>
    <dgm:pt modelId="{0E2F19BE-3966-4520-8470-5F47706807ED}" type="pres">
      <dgm:prSet presAssocID="{C6E107C8-C87F-4E03-9C51-3B0FC309122B}" presName="rootComposite" presStyleCnt="0"/>
      <dgm:spPr/>
    </dgm:pt>
    <dgm:pt modelId="{78B1DB83-1FBB-4B72-AADA-6CBB1DAEF356}" type="pres">
      <dgm:prSet presAssocID="{C6E107C8-C87F-4E03-9C51-3B0FC309122B}" presName="rootText" presStyleLbl="node3" presStyleIdx="13" presStyleCnt="14" custScaleX="182665" custLinFactY="153975" custLinFactNeighborX="-26776" custLinFactNeighborY="2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B23809A-293F-4A54-B283-6C2D984F118D}" type="pres">
      <dgm:prSet presAssocID="{C6E107C8-C87F-4E03-9C51-3B0FC309122B}" presName="rootConnector" presStyleLbl="node3" presStyleIdx="13" presStyleCnt="14"/>
      <dgm:spPr/>
      <dgm:t>
        <a:bodyPr/>
        <a:lstStyle/>
        <a:p>
          <a:endParaRPr lang="en-US"/>
        </a:p>
      </dgm:t>
    </dgm:pt>
    <dgm:pt modelId="{9F248D76-C2BC-4060-8C04-B530C444F409}" type="pres">
      <dgm:prSet presAssocID="{C6E107C8-C87F-4E03-9C51-3B0FC309122B}" presName="hierChild4" presStyleCnt="0"/>
      <dgm:spPr/>
    </dgm:pt>
    <dgm:pt modelId="{AD70828E-DDD4-480C-BDFF-1E596F6615D1}" type="pres">
      <dgm:prSet presAssocID="{28774598-E592-4921-B255-0225EB6D096E}" presName="Name37" presStyleLbl="parChTrans1D4" presStyleIdx="0" presStyleCnt="1"/>
      <dgm:spPr/>
      <dgm:t>
        <a:bodyPr/>
        <a:lstStyle/>
        <a:p>
          <a:endParaRPr lang="en-US"/>
        </a:p>
      </dgm:t>
    </dgm:pt>
    <dgm:pt modelId="{147EF30B-BA3D-4473-9AD2-CC7014F27C11}" type="pres">
      <dgm:prSet presAssocID="{09967023-FD4B-4E34-A1C9-A393B75E32BA}" presName="hierRoot2" presStyleCnt="0">
        <dgm:presLayoutVars>
          <dgm:hierBranch val="init"/>
        </dgm:presLayoutVars>
      </dgm:prSet>
      <dgm:spPr/>
    </dgm:pt>
    <dgm:pt modelId="{77306BB1-6CDB-40C5-85B1-4980890A9206}" type="pres">
      <dgm:prSet presAssocID="{09967023-FD4B-4E34-A1C9-A393B75E32BA}" presName="rootComposite" presStyleCnt="0"/>
      <dgm:spPr/>
    </dgm:pt>
    <dgm:pt modelId="{43C79B55-7800-4403-B3B4-49E5363FFF1E}" type="pres">
      <dgm:prSet presAssocID="{09967023-FD4B-4E34-A1C9-A393B75E32BA}" presName="rootText" presStyleLbl="node4" presStyleIdx="0" presStyleCnt="1" custScaleX="178849" custScaleY="100000" custLinFactY="200000" custLinFactNeighborX="-36429" custLinFactNeighborY="21923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D009694-C9A9-4545-B9B4-AE343C4C6314}" type="pres">
      <dgm:prSet presAssocID="{09967023-FD4B-4E34-A1C9-A393B75E32BA}" presName="rootConnector" presStyleLbl="node4" presStyleIdx="0" presStyleCnt="1"/>
      <dgm:spPr/>
      <dgm:t>
        <a:bodyPr/>
        <a:lstStyle/>
        <a:p>
          <a:endParaRPr lang="en-US"/>
        </a:p>
      </dgm:t>
    </dgm:pt>
    <dgm:pt modelId="{E7CAB4B1-64D6-4507-9B2D-46604CB6848C}" type="pres">
      <dgm:prSet presAssocID="{09967023-FD4B-4E34-A1C9-A393B75E32BA}" presName="hierChild4" presStyleCnt="0"/>
      <dgm:spPr/>
    </dgm:pt>
    <dgm:pt modelId="{283463B1-15A6-4BEF-B96E-DE2502D9F6DF}" type="pres">
      <dgm:prSet presAssocID="{09967023-FD4B-4E34-A1C9-A393B75E32BA}" presName="hierChild5" presStyleCnt="0"/>
      <dgm:spPr/>
    </dgm:pt>
    <dgm:pt modelId="{6105CD00-5C50-452A-994E-5B0FFFC4DA91}" type="pres">
      <dgm:prSet presAssocID="{C6E107C8-C87F-4E03-9C51-3B0FC309122B}" presName="hierChild5" presStyleCnt="0"/>
      <dgm:spPr/>
    </dgm:pt>
    <dgm:pt modelId="{430C728D-004C-49FD-A0C1-71CD6E772786}" type="pres">
      <dgm:prSet presAssocID="{C35FC96E-9015-4790-BDC3-6E0D4D502FCB}" presName="hierChild5" presStyleCnt="0"/>
      <dgm:spPr/>
    </dgm:pt>
    <dgm:pt modelId="{B87F60ED-85BE-4872-BA6E-CDCB9CBDC6A3}" type="pres">
      <dgm:prSet presAssocID="{43BDC9E6-B3ED-4E11-B81F-A36F96CA06AD}" presName="hierChild3" presStyleCnt="0"/>
      <dgm:spPr/>
    </dgm:pt>
  </dgm:ptLst>
  <dgm:cxnLst>
    <dgm:cxn modelId="{98683C46-9874-4B34-966D-62F895E01C0E}" type="presOf" srcId="{F0BD47AB-7AC9-40A2-A96D-1A911EFDE7FF}" destId="{AEDC7120-FE6F-49D8-95F2-AB1B2B6AC9A8}" srcOrd="0" destOrd="0" presId="urn:microsoft.com/office/officeart/2005/8/layout/orgChart1"/>
    <dgm:cxn modelId="{06E71150-3811-4FC5-8858-0203DD6C998E}" srcId="{E420C67E-C4C2-476B-9B47-FFB47D587009}" destId="{2F6572D1-3E4E-41CC-B816-15F6AA753750}" srcOrd="2" destOrd="0" parTransId="{453F9760-1876-428B-8CB6-DA8F60516D89}" sibTransId="{F36BC338-6ADD-4D27-8F50-A2943AF092AF}"/>
    <dgm:cxn modelId="{70CE656A-EA0D-40FA-BB9E-C74B967FC599}" type="presOf" srcId="{43BDC9E6-B3ED-4E11-B81F-A36F96CA06AD}" destId="{6EF86BC6-06CE-4768-9942-F4420543D5EE}" srcOrd="1" destOrd="0" presId="urn:microsoft.com/office/officeart/2005/8/layout/orgChart1"/>
    <dgm:cxn modelId="{AF611182-AAE8-4190-BE35-A2473E50306B}" srcId="{C35FC96E-9015-4790-BDC3-6E0D4D502FCB}" destId="{C6E107C8-C87F-4E03-9C51-3B0FC309122B}" srcOrd="1" destOrd="0" parTransId="{645C00E4-762B-4277-AD48-4328B4AF7430}" sibTransId="{E622C44F-BC5B-49E7-9D58-720E5F6040E1}"/>
    <dgm:cxn modelId="{623BA8D4-8AC8-4EEC-BABF-748D942FDA2D}" type="presOf" srcId="{720AE7B9-47AD-4FF9-8447-DF1B8C5FD193}" destId="{1064D61A-5C37-497D-A6F5-6312AB6E3F5A}" srcOrd="0" destOrd="0" presId="urn:microsoft.com/office/officeart/2005/8/layout/orgChart1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BF0DC91D-EC32-48A1-86C8-FAB69550103E}" srcId="{843E3B21-DC9F-4CF8-A7F1-93BF704E47A7}" destId="{0B5A8C4E-0287-4775-89CD-4F33BAC9506F}" srcOrd="3" destOrd="0" parTransId="{EF032B47-594B-4FE2-82AA-11F85DCB3B05}" sibTransId="{54EDCA25-2AA2-4C65-8635-EE0E2A7EF78B}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E351A66C-310C-457C-9C8C-8762F308511D}" type="presOf" srcId="{9B931718-FC68-4B2E-9854-492BCFE6FE83}" destId="{700B55C8-272E-490B-AB5F-A5C6369E8C79}" srcOrd="1" destOrd="0" presId="urn:microsoft.com/office/officeart/2005/8/layout/orgChart1"/>
    <dgm:cxn modelId="{36EECD92-C8F8-4B69-9518-63F8DD55471D}" type="presOf" srcId="{3EEFE082-C4FA-499A-BA01-E4B8217A4B73}" destId="{A3BC68A0-CABF-4126-884C-C90818E1E26E}" srcOrd="0" destOrd="0" presId="urn:microsoft.com/office/officeart/2005/8/layout/orgChart1"/>
    <dgm:cxn modelId="{A34A13CC-D857-4FA9-BB84-A24FBE37CE06}" type="presOf" srcId="{E420C67E-C4C2-476B-9B47-FFB47D587009}" destId="{45256018-C335-4CDB-9EC5-7AE2ABAC1E00}" srcOrd="1" destOrd="0" presId="urn:microsoft.com/office/officeart/2005/8/layout/orgChart1"/>
    <dgm:cxn modelId="{2D5B481D-AE96-4549-9D58-364145256102}" type="presOf" srcId="{9275B05E-F520-4192-9B33-84AEEBC3F62D}" destId="{11628582-088E-42FA-B6EC-953F652565B0}" srcOrd="0" destOrd="0" presId="urn:microsoft.com/office/officeart/2005/8/layout/orgChart1"/>
    <dgm:cxn modelId="{A0E66910-A417-4433-846A-E364FADC3533}" srcId="{1CE2D78B-C788-472A-8424-7F9A4AB5205E}" destId="{49742260-F14F-4BCB-8D88-ADD2EB5024EC}" srcOrd="2" destOrd="0" parTransId="{9275B05E-F520-4192-9B33-84AEEBC3F62D}" sibTransId="{BDB94797-518D-4543-8D6F-13596FEC7A22}"/>
    <dgm:cxn modelId="{B2267696-0D48-40E5-A708-1BF529427752}" type="presOf" srcId="{C3334397-F4C9-43FD-9DE7-786437A51BF8}" destId="{CC07306D-4BD7-4477-BB61-A954489058D6}" srcOrd="0" destOrd="0" presId="urn:microsoft.com/office/officeart/2005/8/layout/orgChart1"/>
    <dgm:cxn modelId="{DF5E07B9-82AB-4759-AF9F-52C86A708355}" type="presOf" srcId="{2F6572D1-3E4E-41CC-B816-15F6AA753750}" destId="{C3C99CCA-0A47-4420-ABC8-53654C0C3796}" srcOrd="1" destOrd="0" presId="urn:microsoft.com/office/officeart/2005/8/layout/orgChart1"/>
    <dgm:cxn modelId="{A55BB99B-84BC-418B-B68E-A443A7A9DD25}" type="presOf" srcId="{65D088B7-B36E-49AA-84B9-2BC51B326EA1}" destId="{96956835-3386-449C-A89B-65F7C680246D}" srcOrd="0" destOrd="0" presId="urn:microsoft.com/office/officeart/2005/8/layout/orgChart1"/>
    <dgm:cxn modelId="{DB925F6A-7761-4D5E-84C9-D63652FE2570}" srcId="{C6E107C8-C87F-4E03-9C51-3B0FC309122B}" destId="{09967023-FD4B-4E34-A1C9-A393B75E32BA}" srcOrd="0" destOrd="0" parTransId="{28774598-E592-4921-B255-0225EB6D096E}" sibTransId="{0B7B4A03-7BEB-45DD-A62C-7505C5BC4A5B}"/>
    <dgm:cxn modelId="{55033EC1-9E5A-4809-ADA3-1D48EDAEAD2B}" type="presOf" srcId="{C35FC96E-9015-4790-BDC3-6E0D4D502FCB}" destId="{67A44139-B3F0-4118-89E8-A44A0D503C36}" srcOrd="0" destOrd="0" presId="urn:microsoft.com/office/officeart/2005/8/layout/orgChart1"/>
    <dgm:cxn modelId="{8006DEB9-2E7E-4467-B156-1FBA0E384919}" type="presOf" srcId="{843E3B21-DC9F-4CF8-A7F1-93BF704E47A7}" destId="{5E5C4910-D5C2-4117-9825-0F4E2308A1D4}" srcOrd="0" destOrd="0" presId="urn:microsoft.com/office/officeart/2005/8/layout/orgChart1"/>
    <dgm:cxn modelId="{E818712F-3B31-4A84-8BEB-2FB9DD629B1D}" type="presOf" srcId="{90833815-F732-45AF-B735-7A208BE16A8A}" destId="{5D0F02D1-4A23-4B53-AF4F-3529BE69829E}" srcOrd="0" destOrd="0" presId="urn:microsoft.com/office/officeart/2005/8/layout/orgChart1"/>
    <dgm:cxn modelId="{61582A51-EDC2-4B1F-A68D-FF77F6D6E2D7}" type="presOf" srcId="{0216D3CF-84E5-4443-8082-6C6C297E9A4D}" destId="{CF9F174C-7D69-49F6-A7FE-7ED9990EB82A}" srcOrd="1" destOrd="0" presId="urn:microsoft.com/office/officeart/2005/8/layout/orgChart1"/>
    <dgm:cxn modelId="{5A42D1F2-C30C-4321-A4DA-3724723A50EC}" type="presOf" srcId="{7D7C3FA2-CE75-4B7D-A218-416906B8D917}" destId="{63F8734B-291F-4EE9-8AEC-5D7130065FE8}" srcOrd="1" destOrd="0" presId="urn:microsoft.com/office/officeart/2005/8/layout/orgChart1"/>
    <dgm:cxn modelId="{D81E209A-A3F7-4C9C-8C9D-1C4A5D29416D}" type="presOf" srcId="{1CE2D78B-C788-472A-8424-7F9A4AB5205E}" destId="{A5F2589C-C16C-45F2-9A3D-F2A6CB2476D1}" srcOrd="0" destOrd="0" presId="urn:microsoft.com/office/officeart/2005/8/layout/orgChart1"/>
    <dgm:cxn modelId="{AE71E434-657C-4DB0-8655-FFBCF2D09061}" type="presOf" srcId="{35016019-1F0E-47A9-A9CB-AE98C0AFCFC1}" destId="{31DAB6FE-4097-4695-9397-7DCCE262634B}" srcOrd="1" destOrd="0" presId="urn:microsoft.com/office/officeart/2005/8/layout/orgChart1"/>
    <dgm:cxn modelId="{0E973180-C2C5-4F50-A708-EC6162F6661A}" type="presOf" srcId="{CFEBB133-5D80-4E9D-815E-BA7E2B5804D2}" destId="{F55C39B9-C17D-4782-B68D-D9F73AAEE095}" srcOrd="1" destOrd="0" presId="urn:microsoft.com/office/officeart/2005/8/layout/orgChart1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A7CF0529-ABED-4696-8F92-11C46881C3AA}" type="presOf" srcId="{90833815-F732-45AF-B735-7A208BE16A8A}" destId="{8FF15CAA-9BF1-4437-B877-2B6831555847}" srcOrd="1" destOrd="0" presId="urn:microsoft.com/office/officeart/2005/8/layout/orgChart1"/>
    <dgm:cxn modelId="{EE16A7D3-AC42-4BCB-A823-DF203BC768BA}" type="presOf" srcId="{645C00E4-762B-4277-AD48-4328B4AF7430}" destId="{981682D2-6375-4500-994F-C7CC83594561}" srcOrd="0" destOrd="0" presId="urn:microsoft.com/office/officeart/2005/8/layout/orgChart1"/>
    <dgm:cxn modelId="{AE4DEB7B-308C-48FE-B7C7-2C2325EF9BB0}" type="presOf" srcId="{4E25AF54-5C18-4905-8913-7D1EA2AC6905}" destId="{2BC6CEE4-3F67-4FA6-8639-65EC4CCFF4D9}" srcOrd="0" destOrd="0" presId="urn:microsoft.com/office/officeart/2005/8/layout/orgChart1"/>
    <dgm:cxn modelId="{B2A40A5B-3AFA-49C8-B2DF-8B253968EF2C}" type="presOf" srcId="{AFCA2418-8D6B-4E9C-BE52-FC74C908050F}" destId="{C553D0C6-AEE4-4F65-8DAC-62449D94D6A7}" srcOrd="1" destOrd="0" presId="urn:microsoft.com/office/officeart/2005/8/layout/orgChart1"/>
    <dgm:cxn modelId="{03740983-976A-45C2-9FCE-C11CB9E6C814}" type="presOf" srcId="{7D7C3FA2-CE75-4B7D-A218-416906B8D917}" destId="{A77E27D0-EFD7-495B-9E1A-5A5371B8AB84}" srcOrd="0" destOrd="0" presId="urn:microsoft.com/office/officeart/2005/8/layout/orgChart1"/>
    <dgm:cxn modelId="{C159F786-ED38-476E-9CAF-598C4BA6A40C}" srcId="{43BDC9E6-B3ED-4E11-B81F-A36F96CA06AD}" destId="{C35FC96E-9015-4790-BDC3-6E0D4D502FCB}" srcOrd="3" destOrd="0" parTransId="{54165FB5-F7A3-4BBF-B199-2BE2BA410DE8}" sibTransId="{599E3296-C316-405C-B222-CEA737D995B5}"/>
    <dgm:cxn modelId="{12012379-7779-4968-8C25-0CFE9DC4073B}" type="presOf" srcId="{49742260-F14F-4BCB-8D88-ADD2EB5024EC}" destId="{FA7ED8CE-14CF-4D38-BE63-D19E93618025}" srcOrd="1" destOrd="0" presId="urn:microsoft.com/office/officeart/2005/8/layout/orgChart1"/>
    <dgm:cxn modelId="{5AC3A373-8394-4067-A244-20004FD2E1EB}" type="presOf" srcId="{C6E107C8-C87F-4E03-9C51-3B0FC309122B}" destId="{BB23809A-293F-4A54-B283-6C2D984F118D}" srcOrd="1" destOrd="0" presId="urn:microsoft.com/office/officeart/2005/8/layout/orgChart1"/>
    <dgm:cxn modelId="{72A19DB5-FC49-4352-A4A5-D2CF6AD2AD8F}" type="presOf" srcId="{6ED4E1AA-EFDD-4E70-836E-3DB36084DE98}" destId="{C137CAE9-66E1-459B-A733-9B53B02E07AF}" srcOrd="0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08DCFB0D-2474-4F38-99CF-E1AEB1C102EB}" type="presOf" srcId="{B8FD3D24-FF5C-481A-BFA0-ACCFF5DDB239}" destId="{6240857E-8E92-4FD3-BB54-32F6C167CD09}" srcOrd="0" destOrd="0" presId="urn:microsoft.com/office/officeart/2005/8/layout/orgChart1"/>
    <dgm:cxn modelId="{47881776-B116-4BA5-8361-A4011929B158}" type="presOf" srcId="{EF032B47-594B-4FE2-82AA-11F85DCB3B05}" destId="{6262AD45-37CE-4E4E-81E1-98A75BFFED33}" srcOrd="0" destOrd="0" presId="urn:microsoft.com/office/officeart/2005/8/layout/orgChart1"/>
    <dgm:cxn modelId="{6480FCEA-3349-4A4B-B1F3-00581E1A44E3}" type="presOf" srcId="{453F9760-1876-428B-8CB6-DA8F60516D89}" destId="{1D4D3FE4-1739-4B3C-ACD2-597D18FBC50F}" srcOrd="0" destOrd="0" presId="urn:microsoft.com/office/officeart/2005/8/layout/orgChart1"/>
    <dgm:cxn modelId="{070FE192-E276-4135-A201-167BD465FB35}" type="presOf" srcId="{35016019-1F0E-47A9-A9CB-AE98C0AFCFC1}" destId="{428A54D9-43F6-47B6-B3A2-FDCE09CB5A97}" srcOrd="0" destOrd="0" presId="urn:microsoft.com/office/officeart/2005/8/layout/orgChart1"/>
    <dgm:cxn modelId="{E0214194-62C9-44C4-AE01-F75818AB0B23}" type="presOf" srcId="{AFCA2418-8D6B-4E9C-BE52-FC74C908050F}" destId="{1B4F947A-69EB-46FF-A1EA-7664283D213E}" srcOrd="0" destOrd="0" presId="urn:microsoft.com/office/officeart/2005/8/layout/orgChart1"/>
    <dgm:cxn modelId="{FBABCE28-C2DE-463A-AF43-A25FA164F79F}" type="presOf" srcId="{CFEBB133-5D80-4E9D-815E-BA7E2B5804D2}" destId="{50D60845-A14B-4DD0-8DB4-8B07FEB31A21}" srcOrd="0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249C2A17-E3AC-4B65-9AC0-D8B4E072AA40}" type="presOf" srcId="{43BDC9E6-B3ED-4E11-B81F-A36F96CA06AD}" destId="{1AD90FEA-3135-49C2-A3C0-CFEDDC6405B3}" srcOrd="0" destOrd="0" presId="urn:microsoft.com/office/officeart/2005/8/layout/orgChart1"/>
    <dgm:cxn modelId="{AA8C594B-F7E9-42CF-9AE1-B9E9B1685404}" type="presOf" srcId="{3722DDF4-26E2-4422-A516-DEEAC3ECF65B}" destId="{A83ED5F7-10A0-45C9-B814-5804FA76917E}" srcOrd="0" destOrd="0" presId="urn:microsoft.com/office/officeart/2005/8/layout/orgChart1"/>
    <dgm:cxn modelId="{3BC3C7F6-F091-45ED-8925-90DE688F8140}" type="presOf" srcId="{6C5C9B86-7AAA-465B-98FF-E3F38189A3AE}" destId="{3A94D9E8-C2A3-4765-9477-D710CC646957}" srcOrd="0" destOrd="0" presId="urn:microsoft.com/office/officeart/2005/8/layout/orgChart1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50F46080-C43E-4B45-BE31-A7AAE00E90CF}" type="presOf" srcId="{9B931718-FC68-4B2E-9854-492BCFE6FE83}" destId="{984A4F3B-0A00-4E5A-9092-1922B8A7FAB3}" srcOrd="0" destOrd="0" presId="urn:microsoft.com/office/officeart/2005/8/layout/orgChart1"/>
    <dgm:cxn modelId="{C1CE8928-32BE-4B29-94EC-84C2922CDB3E}" type="presOf" srcId="{0B5A8C4E-0287-4775-89CD-4F33BAC9506F}" destId="{E4F391C2-584B-4F01-9A6E-BB77AA2A997A}" srcOrd="1" destOrd="0" presId="urn:microsoft.com/office/officeart/2005/8/layout/orgChart1"/>
    <dgm:cxn modelId="{161DE75F-C438-4684-AA61-0549AAFC22EE}" type="presOf" srcId="{0216D3CF-84E5-4443-8082-6C6C297E9A4D}" destId="{CBCDE87F-FA6C-44B8-A9C2-1E747BE7F736}" srcOrd="0" destOrd="0" presId="urn:microsoft.com/office/officeart/2005/8/layout/orgChart1"/>
    <dgm:cxn modelId="{F41BB7FA-FB72-4329-B5E5-B93A91EB374E}" type="presOf" srcId="{2F6572D1-3E4E-41CC-B816-15F6AA753750}" destId="{7BABB840-5689-4566-85C9-55C4A127C4C6}" srcOrd="0" destOrd="0" presId="urn:microsoft.com/office/officeart/2005/8/layout/orgChart1"/>
    <dgm:cxn modelId="{5CECF50B-CB11-4353-89F8-D0B944B9921F}" type="presOf" srcId="{62301F5E-BDD5-4369-B9CF-5999FECA1C85}" destId="{FE10A4AF-D8A8-4F2D-9661-56E5DBB5B2C5}" srcOrd="0" destOrd="0" presId="urn:microsoft.com/office/officeart/2005/8/layout/orgChart1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D5303A83-A782-4BB6-B537-EB76AE21A31F}" srcId="{E420C67E-C4C2-476B-9B47-FFB47D587009}" destId="{52015A54-073D-4B92-8FF1-0F1F5FE1561A}" srcOrd="4" destOrd="0" parTransId="{B8FD3D24-FF5C-481A-BFA0-ACCFF5DDB239}" sibTransId="{D70B0E39-2F64-4487-9F50-BA872A45E49A}"/>
    <dgm:cxn modelId="{B8D8F487-BE9F-46B4-B488-831FE917437A}" type="presOf" srcId="{28774598-E592-4921-B255-0225EB6D096E}" destId="{AD70828E-DDD4-480C-BDFF-1E596F6615D1}" srcOrd="0" destOrd="0" presId="urn:microsoft.com/office/officeart/2005/8/layout/orgChart1"/>
    <dgm:cxn modelId="{5A3D8AEF-23D3-4519-8FB3-DF326B5C95C7}" type="presOf" srcId="{52015A54-073D-4B92-8FF1-0F1F5FE1561A}" destId="{E9D97F7E-F6E2-4876-9CCF-33FF7FB7A306}" srcOrd="1" destOrd="0" presId="urn:microsoft.com/office/officeart/2005/8/layout/orgChart1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63CB9A3B-B749-4E73-B165-CF874ED04CD6}" type="presOf" srcId="{0B5A8C4E-0287-4775-89CD-4F33BAC9506F}" destId="{E8D3E92A-0794-4DFF-ADF5-83A9F9869BDA}" srcOrd="0" destOrd="0" presId="urn:microsoft.com/office/officeart/2005/8/layout/orgChart1"/>
    <dgm:cxn modelId="{7F336232-9025-4A37-9758-AD7232A4FA92}" type="presOf" srcId="{E420C67E-C4C2-476B-9B47-FFB47D587009}" destId="{F0ED6141-24DB-4164-A2D4-B51E750525CD}" srcOrd="0" destOrd="0" presId="urn:microsoft.com/office/officeart/2005/8/layout/orgChart1"/>
    <dgm:cxn modelId="{8BDD8119-8184-4492-857D-762957F8B7B4}" type="presOf" srcId="{52015A54-073D-4B92-8FF1-0F1F5FE1561A}" destId="{BD1C35E1-9751-4DD4-B9AF-1CFE8C8B4E70}" srcOrd="0" destOrd="0" presId="urn:microsoft.com/office/officeart/2005/8/layout/orgChart1"/>
    <dgm:cxn modelId="{7DC904A4-8DBD-48F3-BECC-2C6156035D45}" type="presOf" srcId="{1CE2D78B-C788-472A-8424-7F9A4AB5205E}" destId="{6D7B6648-0B7F-4E1F-B6C5-CE0E2F04B9FF}" srcOrd="1" destOrd="0" presId="urn:microsoft.com/office/officeart/2005/8/layout/orgChart1"/>
    <dgm:cxn modelId="{D04F767B-71FA-4669-9866-0C574B1E3AC9}" type="presOf" srcId="{A240A1E1-162D-4A6E-A806-B6FF45B3AB68}" destId="{20C564F4-BF5C-4321-B86B-65391CEDEFC7}" srcOrd="1" destOrd="0" presId="urn:microsoft.com/office/officeart/2005/8/layout/orgChart1"/>
    <dgm:cxn modelId="{C03204F0-0D21-4D03-A3B4-AC6A6C092A01}" type="presOf" srcId="{09967023-FD4B-4E34-A1C9-A393B75E32BA}" destId="{FD009694-C9A9-4545-B9B4-AE343C4C6314}" srcOrd="1" destOrd="0" presId="urn:microsoft.com/office/officeart/2005/8/layout/orgChart1"/>
    <dgm:cxn modelId="{9E22CDE8-D43C-4ABC-AFF2-365EC38F0914}" type="presOf" srcId="{14236E25-24F5-4DBC-8E23-FED5A30DEF0E}" destId="{A2B3E9C0-0CE1-4B88-9E71-F7CE1A7F99D7}" srcOrd="0" destOrd="0" presId="urn:microsoft.com/office/officeart/2005/8/layout/orgChart1"/>
    <dgm:cxn modelId="{487CBAA4-A8D5-4313-AE09-EF3672ABC8F5}" type="presOf" srcId="{A60BCA66-49BB-4275-9110-8B471B3FC59B}" destId="{28E82B1A-B1F2-4CC5-9B64-B60015CBF624}" srcOrd="0" destOrd="0" presId="urn:microsoft.com/office/officeart/2005/8/layout/orgChart1"/>
    <dgm:cxn modelId="{D3133B4F-28E5-43F6-BDF7-EBF0776C3C6D}" type="presOf" srcId="{09967023-FD4B-4E34-A1C9-A393B75E32BA}" destId="{43C79B55-7800-4403-B3B4-49E5363FFF1E}" srcOrd="0" destOrd="0" presId="urn:microsoft.com/office/officeart/2005/8/layout/orgChart1"/>
    <dgm:cxn modelId="{4744ADE3-D0BE-4515-A829-8EEA4D59D5D2}" type="presOf" srcId="{720AE7B9-47AD-4FF9-8447-DF1B8C5FD193}" destId="{1D0BA542-EABF-46D4-A11D-8954A50A4A27}" srcOrd="1" destOrd="0" presId="urn:microsoft.com/office/officeart/2005/8/layout/orgChart1"/>
    <dgm:cxn modelId="{7050F491-BD27-41F1-89C1-C1CDDE212FF8}" type="presOf" srcId="{359E2506-5D19-4F9C-8688-C666576175A9}" destId="{50C84909-550F-4BDC-8966-B86E5E1786AE}" srcOrd="0" destOrd="0" presId="urn:microsoft.com/office/officeart/2005/8/layout/orgChart1"/>
    <dgm:cxn modelId="{7E8A394C-0B32-41E9-BC7B-038412EB61D4}" srcId="{E420C67E-C4C2-476B-9B47-FFB47D587009}" destId="{CFEBB133-5D80-4E9D-815E-BA7E2B5804D2}" srcOrd="3" destOrd="0" parTransId="{6C5C9B86-7AAA-465B-98FF-E3F38189A3AE}" sibTransId="{7FDECB7D-540F-4AC8-A911-0EDE43878630}"/>
    <dgm:cxn modelId="{712858AF-18F5-47D6-8C63-F0466FC65015}" type="presOf" srcId="{A26E1133-27F8-42A1-91FE-23383B9ACC99}" destId="{E9F5810C-05C5-4937-8779-609DD6BD5CFD}" srcOrd="0" destOrd="0" presId="urn:microsoft.com/office/officeart/2005/8/layout/orgChart1"/>
    <dgm:cxn modelId="{226D2A7E-3156-470F-8C1B-8472612F72A5}" type="presOf" srcId="{C6E107C8-C87F-4E03-9C51-3B0FC309122B}" destId="{78B1DB83-1FBB-4B72-AADA-6CBB1DAEF356}" srcOrd="0" destOrd="0" presId="urn:microsoft.com/office/officeart/2005/8/layout/orgChart1"/>
    <dgm:cxn modelId="{57555213-388B-4F70-9D33-972F36E8BB70}" type="presOf" srcId="{843E3B21-DC9F-4CF8-A7F1-93BF704E47A7}" destId="{AB22B6A5-BFAD-4E5F-BED0-C002FA69FEEF}" srcOrd="1" destOrd="0" presId="urn:microsoft.com/office/officeart/2005/8/layout/orgChart1"/>
    <dgm:cxn modelId="{8716AACB-666C-441B-B217-1DC51BCE5483}" type="presOf" srcId="{A240A1E1-162D-4A6E-A806-B6FF45B3AB68}" destId="{6E033C69-6BA8-4812-AE4E-0022A986E944}" srcOrd="0" destOrd="0" presId="urn:microsoft.com/office/officeart/2005/8/layout/orgChart1"/>
    <dgm:cxn modelId="{4E25E574-3F0E-4231-A0DB-1E0AD5ACB26D}" type="presOf" srcId="{49742260-F14F-4BCB-8D88-ADD2EB5024EC}" destId="{93507A0E-B606-4F7A-9C01-283769128FF2}" srcOrd="0" destOrd="0" presId="urn:microsoft.com/office/officeart/2005/8/layout/orgChart1"/>
    <dgm:cxn modelId="{40EB00B5-99A0-4F8A-9AD2-7121A87C5210}" type="presOf" srcId="{C35FC96E-9015-4790-BDC3-6E0D4D502FCB}" destId="{B2267437-59D9-4F70-9854-AF295901641A}" srcOrd="1" destOrd="0" presId="urn:microsoft.com/office/officeart/2005/8/layout/orgChart1"/>
    <dgm:cxn modelId="{1BC85FCA-3D46-425C-8FEC-D3DA01406FC0}" type="presOf" srcId="{54165FB5-F7A3-4BBF-B199-2BE2BA410DE8}" destId="{B562ECC0-9994-4B01-9E77-D5C13C496118}" srcOrd="0" destOrd="0" presId="urn:microsoft.com/office/officeart/2005/8/layout/orgChart1"/>
    <dgm:cxn modelId="{A630084D-67F8-48A7-9951-F46F3604D1B4}" srcId="{E420C67E-C4C2-476B-9B47-FFB47D587009}" destId="{90833815-F732-45AF-B735-7A208BE16A8A}" srcOrd="1" destOrd="0" parTransId="{62301F5E-BDD5-4369-B9CF-5999FECA1C85}" sibTransId="{7A88FAF5-FAAB-4848-B347-2B42AF8023FF}"/>
    <dgm:cxn modelId="{482DB792-4616-4429-8146-834A4E403FCA}" srcId="{C35FC96E-9015-4790-BDC3-6E0D4D502FCB}" destId="{AFCA2418-8D6B-4E9C-BE52-FC74C908050F}" srcOrd="0" destOrd="0" parTransId="{4E25AF54-5C18-4905-8913-7D1EA2AC6905}" sibTransId="{2863A287-FD1D-46AB-958E-D6DB7D840902}"/>
    <dgm:cxn modelId="{9F3CD0AE-29F8-4330-92A8-760FA14B44F5}" type="presParOf" srcId="{E9F5810C-05C5-4937-8779-609DD6BD5CFD}" destId="{25A00B3E-FEA8-439F-999E-8DB6BC95DBC0}" srcOrd="0" destOrd="0" presId="urn:microsoft.com/office/officeart/2005/8/layout/orgChart1"/>
    <dgm:cxn modelId="{AD8A559C-BB77-4780-924F-4A624837E5D9}" type="presParOf" srcId="{25A00B3E-FEA8-439F-999E-8DB6BC95DBC0}" destId="{305CB9B7-E4C6-453D-AC39-1DA3FA25C576}" srcOrd="0" destOrd="0" presId="urn:microsoft.com/office/officeart/2005/8/layout/orgChart1"/>
    <dgm:cxn modelId="{B7757265-DE01-41BA-9791-A1DD7AF0D5AF}" type="presParOf" srcId="{305CB9B7-E4C6-453D-AC39-1DA3FA25C576}" destId="{1AD90FEA-3135-49C2-A3C0-CFEDDC6405B3}" srcOrd="0" destOrd="0" presId="urn:microsoft.com/office/officeart/2005/8/layout/orgChart1"/>
    <dgm:cxn modelId="{C5F8167B-5F34-4AAF-BEE7-214C52CB1895}" type="presParOf" srcId="{305CB9B7-E4C6-453D-AC39-1DA3FA25C576}" destId="{6EF86BC6-06CE-4768-9942-F4420543D5EE}" srcOrd="1" destOrd="0" presId="urn:microsoft.com/office/officeart/2005/8/layout/orgChart1"/>
    <dgm:cxn modelId="{9EE0571D-A674-45D6-8E5D-B2BC1F53A211}" type="presParOf" srcId="{25A00B3E-FEA8-439F-999E-8DB6BC95DBC0}" destId="{EC72B6B4-B63E-4FE2-8CC2-5FA221770366}" srcOrd="1" destOrd="0" presId="urn:microsoft.com/office/officeart/2005/8/layout/orgChart1"/>
    <dgm:cxn modelId="{04F65017-C237-42C5-9ABF-B64DAA526F7C}" type="presParOf" srcId="{EC72B6B4-B63E-4FE2-8CC2-5FA221770366}" destId="{A3BC68A0-CABF-4126-884C-C90818E1E26E}" srcOrd="0" destOrd="0" presId="urn:microsoft.com/office/officeart/2005/8/layout/orgChart1"/>
    <dgm:cxn modelId="{42B2BE20-2AC7-46A1-A78F-67952C451BCD}" type="presParOf" srcId="{EC72B6B4-B63E-4FE2-8CC2-5FA221770366}" destId="{9B84C5AA-6259-445A-8F7A-6D366FCBB4AD}" srcOrd="1" destOrd="0" presId="urn:microsoft.com/office/officeart/2005/8/layout/orgChart1"/>
    <dgm:cxn modelId="{444D64BE-916A-4D94-9C4A-6AF101AB6CC3}" type="presParOf" srcId="{9B84C5AA-6259-445A-8F7A-6D366FCBB4AD}" destId="{F324FB99-E565-440D-9319-A2867DA87756}" srcOrd="0" destOrd="0" presId="urn:microsoft.com/office/officeart/2005/8/layout/orgChart1"/>
    <dgm:cxn modelId="{2DC8A3F5-02E9-463F-A4AC-48770E76C38F}" type="presParOf" srcId="{F324FB99-E565-440D-9319-A2867DA87756}" destId="{5E5C4910-D5C2-4117-9825-0F4E2308A1D4}" srcOrd="0" destOrd="0" presId="urn:microsoft.com/office/officeart/2005/8/layout/orgChart1"/>
    <dgm:cxn modelId="{FDABBB23-595C-4282-8886-B47978E6DD3D}" type="presParOf" srcId="{F324FB99-E565-440D-9319-A2867DA87756}" destId="{AB22B6A5-BFAD-4E5F-BED0-C002FA69FEEF}" srcOrd="1" destOrd="0" presId="urn:microsoft.com/office/officeart/2005/8/layout/orgChart1"/>
    <dgm:cxn modelId="{81F4B3BD-7A60-4BFB-B49E-B5130BF1B536}" type="presParOf" srcId="{9B84C5AA-6259-445A-8F7A-6D366FCBB4AD}" destId="{16186025-4BC6-46E2-97F6-F9084F02632D}" srcOrd="1" destOrd="0" presId="urn:microsoft.com/office/officeart/2005/8/layout/orgChart1"/>
    <dgm:cxn modelId="{2EB940F2-16EA-4EFE-AF69-3A67B0C0705D}" type="presParOf" srcId="{16186025-4BC6-46E2-97F6-F9084F02632D}" destId="{A83ED5F7-10A0-45C9-B814-5804FA76917E}" srcOrd="0" destOrd="0" presId="urn:microsoft.com/office/officeart/2005/8/layout/orgChart1"/>
    <dgm:cxn modelId="{AE5862B2-444F-4323-B31C-4A616469CFF2}" type="presParOf" srcId="{16186025-4BC6-46E2-97F6-F9084F02632D}" destId="{D44CFE56-6231-4D51-BDF4-F9842887D455}" srcOrd="1" destOrd="0" presId="urn:microsoft.com/office/officeart/2005/8/layout/orgChart1"/>
    <dgm:cxn modelId="{44B663D9-D260-47B2-B2CE-F0A6A23FF046}" type="presParOf" srcId="{D44CFE56-6231-4D51-BDF4-F9842887D455}" destId="{F340CB26-8421-44AC-9592-9BB7E87D96B8}" srcOrd="0" destOrd="0" presId="urn:microsoft.com/office/officeart/2005/8/layout/orgChart1"/>
    <dgm:cxn modelId="{750D1A27-B3D2-4AB1-81D8-3B1919EF2C69}" type="presParOf" srcId="{F340CB26-8421-44AC-9592-9BB7E87D96B8}" destId="{1064D61A-5C37-497D-A6F5-6312AB6E3F5A}" srcOrd="0" destOrd="0" presId="urn:microsoft.com/office/officeart/2005/8/layout/orgChart1"/>
    <dgm:cxn modelId="{078AD42E-1489-4E89-BDFB-4F690B615103}" type="presParOf" srcId="{F340CB26-8421-44AC-9592-9BB7E87D96B8}" destId="{1D0BA542-EABF-46D4-A11D-8954A50A4A27}" srcOrd="1" destOrd="0" presId="urn:microsoft.com/office/officeart/2005/8/layout/orgChart1"/>
    <dgm:cxn modelId="{FC5A2E81-3CC0-40F1-8F4B-065C8C72AFDA}" type="presParOf" srcId="{D44CFE56-6231-4D51-BDF4-F9842887D455}" destId="{CB5479DD-BB83-4A7F-A8FE-0204BBEBDE57}" srcOrd="1" destOrd="0" presId="urn:microsoft.com/office/officeart/2005/8/layout/orgChart1"/>
    <dgm:cxn modelId="{F74578B8-EE39-4785-8204-8F957799B835}" type="presParOf" srcId="{D44CFE56-6231-4D51-BDF4-F9842887D455}" destId="{72F3B94E-5E2C-4DF9-BCD5-3D635951032C}" srcOrd="2" destOrd="0" presId="urn:microsoft.com/office/officeart/2005/8/layout/orgChart1"/>
    <dgm:cxn modelId="{AF1310AF-928F-4C0C-9B92-C0762ABDD5A6}" type="presParOf" srcId="{16186025-4BC6-46E2-97F6-F9084F02632D}" destId="{A2B3E9C0-0CE1-4B88-9E71-F7CE1A7F99D7}" srcOrd="2" destOrd="0" presId="urn:microsoft.com/office/officeart/2005/8/layout/orgChart1"/>
    <dgm:cxn modelId="{9403DF57-A666-46D8-A571-0AE118E7D560}" type="presParOf" srcId="{16186025-4BC6-46E2-97F6-F9084F02632D}" destId="{16797127-63BB-4E8C-8005-5E72B3FF9B3C}" srcOrd="3" destOrd="0" presId="urn:microsoft.com/office/officeart/2005/8/layout/orgChart1"/>
    <dgm:cxn modelId="{AE7A3664-F20E-4825-ACF2-24BBCF4261EE}" type="presParOf" srcId="{16797127-63BB-4E8C-8005-5E72B3FF9B3C}" destId="{4DFEF789-40AF-4966-81EA-F7C1CBE52773}" srcOrd="0" destOrd="0" presId="urn:microsoft.com/office/officeart/2005/8/layout/orgChart1"/>
    <dgm:cxn modelId="{E55DA57D-57F9-4660-BF98-9AB1F0F395A1}" type="presParOf" srcId="{4DFEF789-40AF-4966-81EA-F7C1CBE52773}" destId="{A77E27D0-EFD7-495B-9E1A-5A5371B8AB84}" srcOrd="0" destOrd="0" presId="urn:microsoft.com/office/officeart/2005/8/layout/orgChart1"/>
    <dgm:cxn modelId="{BDE67901-F7FB-4DBC-A9C0-B5C0A4DA9ED1}" type="presParOf" srcId="{4DFEF789-40AF-4966-81EA-F7C1CBE52773}" destId="{63F8734B-291F-4EE9-8AEC-5D7130065FE8}" srcOrd="1" destOrd="0" presId="urn:microsoft.com/office/officeart/2005/8/layout/orgChart1"/>
    <dgm:cxn modelId="{4CB069FB-A178-4783-A646-8604F6321009}" type="presParOf" srcId="{16797127-63BB-4E8C-8005-5E72B3FF9B3C}" destId="{F1241E53-1837-4666-9A60-B6AD42958195}" srcOrd="1" destOrd="0" presId="urn:microsoft.com/office/officeart/2005/8/layout/orgChart1"/>
    <dgm:cxn modelId="{08A65351-6EEA-4321-8B93-B14DEC2FEF46}" type="presParOf" srcId="{16797127-63BB-4E8C-8005-5E72B3FF9B3C}" destId="{E1079AD2-0C8E-44F0-9596-6D504E6161CE}" srcOrd="2" destOrd="0" presId="urn:microsoft.com/office/officeart/2005/8/layout/orgChart1"/>
    <dgm:cxn modelId="{882B511B-CD41-46B6-BFEB-330FA1D8DF26}" type="presParOf" srcId="{16186025-4BC6-46E2-97F6-F9084F02632D}" destId="{50C84909-550F-4BDC-8966-B86E5E1786AE}" srcOrd="4" destOrd="0" presId="urn:microsoft.com/office/officeart/2005/8/layout/orgChart1"/>
    <dgm:cxn modelId="{85EC572B-404B-4243-99E6-9FDA91CDADC4}" type="presParOf" srcId="{16186025-4BC6-46E2-97F6-F9084F02632D}" destId="{EBCAC25B-3E97-4708-AA7E-0D44E4C06B2C}" srcOrd="5" destOrd="0" presId="urn:microsoft.com/office/officeart/2005/8/layout/orgChart1"/>
    <dgm:cxn modelId="{16840E1E-E775-4458-BCE5-763ABA53B8B1}" type="presParOf" srcId="{EBCAC25B-3E97-4708-AA7E-0D44E4C06B2C}" destId="{56A22D43-7DD1-46E6-B06A-D1D662EE6DAD}" srcOrd="0" destOrd="0" presId="urn:microsoft.com/office/officeart/2005/8/layout/orgChart1"/>
    <dgm:cxn modelId="{835235B2-6493-46AF-81FC-177B85F1A085}" type="presParOf" srcId="{56A22D43-7DD1-46E6-B06A-D1D662EE6DAD}" destId="{984A4F3B-0A00-4E5A-9092-1922B8A7FAB3}" srcOrd="0" destOrd="0" presId="urn:microsoft.com/office/officeart/2005/8/layout/orgChart1"/>
    <dgm:cxn modelId="{7EFE180E-3F45-4424-9405-617997AFF2B7}" type="presParOf" srcId="{56A22D43-7DD1-46E6-B06A-D1D662EE6DAD}" destId="{700B55C8-272E-490B-AB5F-A5C6369E8C79}" srcOrd="1" destOrd="0" presId="urn:microsoft.com/office/officeart/2005/8/layout/orgChart1"/>
    <dgm:cxn modelId="{4D3D8B2F-E5FA-418D-B856-8B6590251080}" type="presParOf" srcId="{EBCAC25B-3E97-4708-AA7E-0D44E4C06B2C}" destId="{18D6C1B6-F902-4ABE-BB60-086B907C1C3A}" srcOrd="1" destOrd="0" presId="urn:microsoft.com/office/officeart/2005/8/layout/orgChart1"/>
    <dgm:cxn modelId="{08419E45-78D4-42EC-9B0F-C034D6ABB79C}" type="presParOf" srcId="{EBCAC25B-3E97-4708-AA7E-0D44E4C06B2C}" destId="{4E3F742A-A2F5-4971-A026-90DA3CFE956C}" srcOrd="2" destOrd="0" presId="urn:microsoft.com/office/officeart/2005/8/layout/orgChart1"/>
    <dgm:cxn modelId="{32F270F0-B987-44BF-ABA4-D4EF9AC1E0B1}" type="presParOf" srcId="{16186025-4BC6-46E2-97F6-F9084F02632D}" destId="{6262AD45-37CE-4E4E-81E1-98A75BFFED33}" srcOrd="6" destOrd="0" presId="urn:microsoft.com/office/officeart/2005/8/layout/orgChart1"/>
    <dgm:cxn modelId="{065D05F3-E3B4-45AA-B2CA-33F312F4CFA6}" type="presParOf" srcId="{16186025-4BC6-46E2-97F6-F9084F02632D}" destId="{3BDA7C33-CC97-412E-A3EC-9F252E4F5A5A}" srcOrd="7" destOrd="0" presId="urn:microsoft.com/office/officeart/2005/8/layout/orgChart1"/>
    <dgm:cxn modelId="{17D540F6-198F-4573-92B4-40B4B86FB878}" type="presParOf" srcId="{3BDA7C33-CC97-412E-A3EC-9F252E4F5A5A}" destId="{2723E1CD-4CEE-4F07-87CD-20B12A8FC827}" srcOrd="0" destOrd="0" presId="urn:microsoft.com/office/officeart/2005/8/layout/orgChart1"/>
    <dgm:cxn modelId="{F39FDD4F-8438-4EE7-B440-414A71B0C5A3}" type="presParOf" srcId="{2723E1CD-4CEE-4F07-87CD-20B12A8FC827}" destId="{E8D3E92A-0794-4DFF-ADF5-83A9F9869BDA}" srcOrd="0" destOrd="0" presId="urn:microsoft.com/office/officeart/2005/8/layout/orgChart1"/>
    <dgm:cxn modelId="{3C6DB6AA-1B7A-46E5-A314-E138BF4D585D}" type="presParOf" srcId="{2723E1CD-4CEE-4F07-87CD-20B12A8FC827}" destId="{E4F391C2-584B-4F01-9A6E-BB77AA2A997A}" srcOrd="1" destOrd="0" presId="urn:microsoft.com/office/officeart/2005/8/layout/orgChart1"/>
    <dgm:cxn modelId="{6A719CD1-6E98-4F41-9087-AE0A464CB45B}" type="presParOf" srcId="{3BDA7C33-CC97-412E-A3EC-9F252E4F5A5A}" destId="{B2E11ABB-6C93-42E1-91A1-DB542954BA14}" srcOrd="1" destOrd="0" presId="urn:microsoft.com/office/officeart/2005/8/layout/orgChart1"/>
    <dgm:cxn modelId="{54D593DF-EAEE-4619-A95C-9C7AA1CB7548}" type="presParOf" srcId="{3BDA7C33-CC97-412E-A3EC-9F252E4F5A5A}" destId="{7916A290-6350-41CF-9D02-42ED9408F54E}" srcOrd="2" destOrd="0" presId="urn:microsoft.com/office/officeart/2005/8/layout/orgChart1"/>
    <dgm:cxn modelId="{F8C5EDE0-68BE-4D41-BDE2-FAF638E9BCA1}" type="presParOf" srcId="{9B84C5AA-6259-445A-8F7A-6D366FCBB4AD}" destId="{82355405-192E-42E7-B905-7A6FE845C6D9}" srcOrd="2" destOrd="0" presId="urn:microsoft.com/office/officeart/2005/8/layout/orgChart1"/>
    <dgm:cxn modelId="{4D4A37F4-1C52-403F-ACD3-E49A3F17BF20}" type="presParOf" srcId="{EC72B6B4-B63E-4FE2-8CC2-5FA221770366}" destId="{96956835-3386-449C-A89B-65F7C680246D}" srcOrd="2" destOrd="0" presId="urn:microsoft.com/office/officeart/2005/8/layout/orgChart1"/>
    <dgm:cxn modelId="{2D01198C-AB6C-4B38-BFFE-BB3433E3FD63}" type="presParOf" srcId="{EC72B6B4-B63E-4FE2-8CC2-5FA221770366}" destId="{DBD72DFC-EF80-4973-B6E5-D3C9AB052F9E}" srcOrd="3" destOrd="0" presId="urn:microsoft.com/office/officeart/2005/8/layout/orgChart1"/>
    <dgm:cxn modelId="{E862075E-F021-45FC-A024-894C1EC26FF2}" type="presParOf" srcId="{DBD72DFC-EF80-4973-B6E5-D3C9AB052F9E}" destId="{72B31F8C-4060-4D82-8D0A-8A332812C464}" srcOrd="0" destOrd="0" presId="urn:microsoft.com/office/officeart/2005/8/layout/orgChart1"/>
    <dgm:cxn modelId="{3231EC79-D987-48C1-B529-75A44FCF0CBF}" type="presParOf" srcId="{72B31F8C-4060-4D82-8D0A-8A332812C464}" destId="{F0ED6141-24DB-4164-A2D4-B51E750525CD}" srcOrd="0" destOrd="0" presId="urn:microsoft.com/office/officeart/2005/8/layout/orgChart1"/>
    <dgm:cxn modelId="{C287ECB6-F5E7-47BD-81DA-1556DCC585B6}" type="presParOf" srcId="{72B31F8C-4060-4D82-8D0A-8A332812C464}" destId="{45256018-C335-4CDB-9EC5-7AE2ABAC1E00}" srcOrd="1" destOrd="0" presId="urn:microsoft.com/office/officeart/2005/8/layout/orgChart1"/>
    <dgm:cxn modelId="{9AEA2DC5-6EBB-4CAD-8F11-A354149D484F}" type="presParOf" srcId="{DBD72DFC-EF80-4973-B6E5-D3C9AB052F9E}" destId="{2A7D3334-4741-4667-BCDB-1A78491B4FD4}" srcOrd="1" destOrd="0" presId="urn:microsoft.com/office/officeart/2005/8/layout/orgChart1"/>
    <dgm:cxn modelId="{7B9F850A-D923-4EF3-B6C3-30C2A2436C36}" type="presParOf" srcId="{2A7D3334-4741-4667-BCDB-1A78491B4FD4}" destId="{CC07306D-4BD7-4477-BB61-A954489058D6}" srcOrd="0" destOrd="0" presId="urn:microsoft.com/office/officeart/2005/8/layout/orgChart1"/>
    <dgm:cxn modelId="{218550A2-5395-41AB-92F2-5869D769D60B}" type="presParOf" srcId="{2A7D3334-4741-4667-BCDB-1A78491B4FD4}" destId="{0ECB6EE9-64D7-46FB-8A0A-B83CD370F0B4}" srcOrd="1" destOrd="0" presId="urn:microsoft.com/office/officeart/2005/8/layout/orgChart1"/>
    <dgm:cxn modelId="{46C861E7-C45C-408E-82F8-C52E090CE552}" type="presParOf" srcId="{0ECB6EE9-64D7-46FB-8A0A-B83CD370F0B4}" destId="{9D96850F-E3A0-4435-B942-5F48B18AC5F4}" srcOrd="0" destOrd="0" presId="urn:microsoft.com/office/officeart/2005/8/layout/orgChart1"/>
    <dgm:cxn modelId="{D54495B5-DAB1-451B-8306-875D9ECCFABE}" type="presParOf" srcId="{9D96850F-E3A0-4435-B942-5F48B18AC5F4}" destId="{CBCDE87F-FA6C-44B8-A9C2-1E747BE7F736}" srcOrd="0" destOrd="0" presId="urn:microsoft.com/office/officeart/2005/8/layout/orgChart1"/>
    <dgm:cxn modelId="{73C2E193-F349-4E0F-94B7-708BD35DB490}" type="presParOf" srcId="{9D96850F-E3A0-4435-B942-5F48B18AC5F4}" destId="{CF9F174C-7D69-49F6-A7FE-7ED9990EB82A}" srcOrd="1" destOrd="0" presId="urn:microsoft.com/office/officeart/2005/8/layout/orgChart1"/>
    <dgm:cxn modelId="{46F1D1AC-6FA7-4A2B-BA8D-319B44CE05C1}" type="presParOf" srcId="{0ECB6EE9-64D7-46FB-8A0A-B83CD370F0B4}" destId="{1934090D-CBAE-4AB8-9BE7-C9762145998D}" srcOrd="1" destOrd="0" presId="urn:microsoft.com/office/officeart/2005/8/layout/orgChart1"/>
    <dgm:cxn modelId="{81DC138D-3411-42F3-A123-7A13A3B8FED6}" type="presParOf" srcId="{0ECB6EE9-64D7-46FB-8A0A-B83CD370F0B4}" destId="{7BCCCAFF-8404-460B-9A5A-B8BF91057993}" srcOrd="2" destOrd="0" presId="urn:microsoft.com/office/officeart/2005/8/layout/orgChart1"/>
    <dgm:cxn modelId="{D91ABEDE-0027-466D-9D5B-D337D8462D00}" type="presParOf" srcId="{2A7D3334-4741-4667-BCDB-1A78491B4FD4}" destId="{FE10A4AF-D8A8-4F2D-9661-56E5DBB5B2C5}" srcOrd="2" destOrd="0" presId="urn:microsoft.com/office/officeart/2005/8/layout/orgChart1"/>
    <dgm:cxn modelId="{A83ED14D-44F8-4440-BC7A-9A9E697CE351}" type="presParOf" srcId="{2A7D3334-4741-4667-BCDB-1A78491B4FD4}" destId="{6E36B90A-357D-4409-934D-6F40EC568AE0}" srcOrd="3" destOrd="0" presId="urn:microsoft.com/office/officeart/2005/8/layout/orgChart1"/>
    <dgm:cxn modelId="{4E6666C9-FFD1-4F6B-AB38-646B9CB3B6C5}" type="presParOf" srcId="{6E36B90A-357D-4409-934D-6F40EC568AE0}" destId="{AB55976F-0A75-48BF-8621-9232364F260E}" srcOrd="0" destOrd="0" presId="urn:microsoft.com/office/officeart/2005/8/layout/orgChart1"/>
    <dgm:cxn modelId="{72829F06-D680-4AE7-A815-63E48CFAEF2C}" type="presParOf" srcId="{AB55976F-0A75-48BF-8621-9232364F260E}" destId="{5D0F02D1-4A23-4B53-AF4F-3529BE69829E}" srcOrd="0" destOrd="0" presId="urn:microsoft.com/office/officeart/2005/8/layout/orgChart1"/>
    <dgm:cxn modelId="{762860D9-38EB-4C37-B6FE-B426A8387BD6}" type="presParOf" srcId="{AB55976F-0A75-48BF-8621-9232364F260E}" destId="{8FF15CAA-9BF1-4437-B877-2B6831555847}" srcOrd="1" destOrd="0" presId="urn:microsoft.com/office/officeart/2005/8/layout/orgChart1"/>
    <dgm:cxn modelId="{F5847E66-538E-4EF2-8040-E74FA36725AF}" type="presParOf" srcId="{6E36B90A-357D-4409-934D-6F40EC568AE0}" destId="{8EE5665B-F21D-4DA6-A444-6C77DD3C6F95}" srcOrd="1" destOrd="0" presId="urn:microsoft.com/office/officeart/2005/8/layout/orgChart1"/>
    <dgm:cxn modelId="{83DCE86E-FC5F-4177-876A-F07585AF13E6}" type="presParOf" srcId="{6E36B90A-357D-4409-934D-6F40EC568AE0}" destId="{F1F43870-C4AC-4AF4-AB05-6A054FC06D63}" srcOrd="2" destOrd="0" presId="urn:microsoft.com/office/officeart/2005/8/layout/orgChart1"/>
    <dgm:cxn modelId="{249B8B57-6953-4D4C-B05E-D783700980FB}" type="presParOf" srcId="{2A7D3334-4741-4667-BCDB-1A78491B4FD4}" destId="{1D4D3FE4-1739-4B3C-ACD2-597D18FBC50F}" srcOrd="4" destOrd="0" presId="urn:microsoft.com/office/officeart/2005/8/layout/orgChart1"/>
    <dgm:cxn modelId="{677F2787-AB2B-4755-B2AC-FC83E03774F6}" type="presParOf" srcId="{2A7D3334-4741-4667-BCDB-1A78491B4FD4}" destId="{9115B6B6-EA79-4FE0-843B-D82CDE234246}" srcOrd="5" destOrd="0" presId="urn:microsoft.com/office/officeart/2005/8/layout/orgChart1"/>
    <dgm:cxn modelId="{163FA4BC-EC6C-49E0-BA2C-622D93383DF8}" type="presParOf" srcId="{9115B6B6-EA79-4FE0-843B-D82CDE234246}" destId="{B54B6D9A-0CB7-42FF-A0FD-F2137F2080D7}" srcOrd="0" destOrd="0" presId="urn:microsoft.com/office/officeart/2005/8/layout/orgChart1"/>
    <dgm:cxn modelId="{F7A590AE-C1F7-4530-AF20-EB0C56C055BC}" type="presParOf" srcId="{B54B6D9A-0CB7-42FF-A0FD-F2137F2080D7}" destId="{7BABB840-5689-4566-85C9-55C4A127C4C6}" srcOrd="0" destOrd="0" presId="urn:microsoft.com/office/officeart/2005/8/layout/orgChart1"/>
    <dgm:cxn modelId="{9D03444F-AA76-4274-9D26-794960C7DE58}" type="presParOf" srcId="{B54B6D9A-0CB7-42FF-A0FD-F2137F2080D7}" destId="{C3C99CCA-0A47-4420-ABC8-53654C0C3796}" srcOrd="1" destOrd="0" presId="urn:microsoft.com/office/officeart/2005/8/layout/orgChart1"/>
    <dgm:cxn modelId="{84551787-8110-432F-A5C5-D14A04F32470}" type="presParOf" srcId="{9115B6B6-EA79-4FE0-843B-D82CDE234246}" destId="{0D889D42-77FB-49A7-B6E8-3A8C670AFEAD}" srcOrd="1" destOrd="0" presId="urn:microsoft.com/office/officeart/2005/8/layout/orgChart1"/>
    <dgm:cxn modelId="{7B21A4C7-9720-4D0C-AE35-36D2A4F3B11F}" type="presParOf" srcId="{9115B6B6-EA79-4FE0-843B-D82CDE234246}" destId="{6BE4F57E-EC21-4523-B1EB-3AEDD24C4D44}" srcOrd="2" destOrd="0" presId="urn:microsoft.com/office/officeart/2005/8/layout/orgChart1"/>
    <dgm:cxn modelId="{8D92135F-ED32-4709-B3CB-4CE02AADB33B}" type="presParOf" srcId="{2A7D3334-4741-4667-BCDB-1A78491B4FD4}" destId="{3A94D9E8-C2A3-4765-9477-D710CC646957}" srcOrd="6" destOrd="0" presId="urn:microsoft.com/office/officeart/2005/8/layout/orgChart1"/>
    <dgm:cxn modelId="{FEA88EAF-1E65-4215-8009-189F00BBD945}" type="presParOf" srcId="{2A7D3334-4741-4667-BCDB-1A78491B4FD4}" destId="{2EAD44A1-134B-439B-87EC-257234921AE5}" srcOrd="7" destOrd="0" presId="urn:microsoft.com/office/officeart/2005/8/layout/orgChart1"/>
    <dgm:cxn modelId="{A39052DA-6B65-419E-889D-A3735BA05AC0}" type="presParOf" srcId="{2EAD44A1-134B-439B-87EC-257234921AE5}" destId="{2FB73BF3-3C5D-4AD3-9D1C-8A589100FCB7}" srcOrd="0" destOrd="0" presId="urn:microsoft.com/office/officeart/2005/8/layout/orgChart1"/>
    <dgm:cxn modelId="{C75F29DB-3F8E-478F-9527-3B766247351E}" type="presParOf" srcId="{2FB73BF3-3C5D-4AD3-9D1C-8A589100FCB7}" destId="{50D60845-A14B-4DD0-8DB4-8B07FEB31A21}" srcOrd="0" destOrd="0" presId="urn:microsoft.com/office/officeart/2005/8/layout/orgChart1"/>
    <dgm:cxn modelId="{34FDA7CB-73E2-4E67-B451-BEBE4DFFCFCA}" type="presParOf" srcId="{2FB73BF3-3C5D-4AD3-9D1C-8A589100FCB7}" destId="{F55C39B9-C17D-4782-B68D-D9F73AAEE095}" srcOrd="1" destOrd="0" presId="urn:microsoft.com/office/officeart/2005/8/layout/orgChart1"/>
    <dgm:cxn modelId="{1C5BEEF8-E934-478A-ADE7-2DAD302FB8BB}" type="presParOf" srcId="{2EAD44A1-134B-439B-87EC-257234921AE5}" destId="{FE161E8F-9C2C-4330-91D6-9E6A7C6F19FB}" srcOrd="1" destOrd="0" presId="urn:microsoft.com/office/officeart/2005/8/layout/orgChart1"/>
    <dgm:cxn modelId="{4D17FD7E-346A-4CCC-94A8-EB3BAEA02A46}" type="presParOf" srcId="{2EAD44A1-134B-439B-87EC-257234921AE5}" destId="{DCFA5C64-38E4-453B-BB1F-AE8ADB7F8B50}" srcOrd="2" destOrd="0" presId="urn:microsoft.com/office/officeart/2005/8/layout/orgChart1"/>
    <dgm:cxn modelId="{B03C298D-D5E5-4D3E-A9EF-18D9AFCABE60}" type="presParOf" srcId="{2A7D3334-4741-4667-BCDB-1A78491B4FD4}" destId="{6240857E-8E92-4FD3-BB54-32F6C167CD09}" srcOrd="8" destOrd="0" presId="urn:microsoft.com/office/officeart/2005/8/layout/orgChart1"/>
    <dgm:cxn modelId="{221626F3-44D7-4B97-9BD1-66FEDEE147EC}" type="presParOf" srcId="{2A7D3334-4741-4667-BCDB-1A78491B4FD4}" destId="{15B9C00A-6A73-4158-81BD-1F7308096CC8}" srcOrd="9" destOrd="0" presId="urn:microsoft.com/office/officeart/2005/8/layout/orgChart1"/>
    <dgm:cxn modelId="{0FA3B1BE-9E81-4568-B7F6-2FF73A430033}" type="presParOf" srcId="{15B9C00A-6A73-4158-81BD-1F7308096CC8}" destId="{0B45F736-1A0E-4A7B-A649-FBC58E1CBB7D}" srcOrd="0" destOrd="0" presId="urn:microsoft.com/office/officeart/2005/8/layout/orgChart1"/>
    <dgm:cxn modelId="{6421C186-3182-475C-9E55-2C27FB7DA5FB}" type="presParOf" srcId="{0B45F736-1A0E-4A7B-A649-FBC58E1CBB7D}" destId="{BD1C35E1-9751-4DD4-B9AF-1CFE8C8B4E70}" srcOrd="0" destOrd="0" presId="urn:microsoft.com/office/officeart/2005/8/layout/orgChart1"/>
    <dgm:cxn modelId="{2CC9AB1F-71DE-4405-968B-4C2E0973C87F}" type="presParOf" srcId="{0B45F736-1A0E-4A7B-A649-FBC58E1CBB7D}" destId="{E9D97F7E-F6E2-4876-9CCF-33FF7FB7A306}" srcOrd="1" destOrd="0" presId="urn:microsoft.com/office/officeart/2005/8/layout/orgChart1"/>
    <dgm:cxn modelId="{AE624097-AC16-42F0-B863-2F3D3204AE0F}" type="presParOf" srcId="{15B9C00A-6A73-4158-81BD-1F7308096CC8}" destId="{29CC4417-FD35-462A-AB7F-4A305202200E}" srcOrd="1" destOrd="0" presId="urn:microsoft.com/office/officeart/2005/8/layout/orgChart1"/>
    <dgm:cxn modelId="{E7444546-965D-4518-B178-93A23791BB08}" type="presParOf" srcId="{15B9C00A-6A73-4158-81BD-1F7308096CC8}" destId="{9EF0C1A1-B522-4DAB-AD15-507C0F3FBD56}" srcOrd="2" destOrd="0" presId="urn:microsoft.com/office/officeart/2005/8/layout/orgChart1"/>
    <dgm:cxn modelId="{F96BB6C5-9CE1-4283-A0E9-F552E1989B15}" type="presParOf" srcId="{DBD72DFC-EF80-4973-B6E5-D3C9AB052F9E}" destId="{1DBB8D6B-1EA9-448A-B87B-A162873E7B21}" srcOrd="2" destOrd="0" presId="urn:microsoft.com/office/officeart/2005/8/layout/orgChart1"/>
    <dgm:cxn modelId="{D05ECC00-65BE-456D-91D7-7184DA576277}" type="presParOf" srcId="{EC72B6B4-B63E-4FE2-8CC2-5FA221770366}" destId="{C137CAE9-66E1-459B-A733-9B53B02E07AF}" srcOrd="4" destOrd="0" presId="urn:microsoft.com/office/officeart/2005/8/layout/orgChart1"/>
    <dgm:cxn modelId="{ADD6DBDB-299C-45B2-82B9-8707C10C7240}" type="presParOf" srcId="{EC72B6B4-B63E-4FE2-8CC2-5FA221770366}" destId="{35CBA655-D40F-4A2B-B71A-711D392B5A84}" srcOrd="5" destOrd="0" presId="urn:microsoft.com/office/officeart/2005/8/layout/orgChart1"/>
    <dgm:cxn modelId="{E4C1F471-2596-4C1E-BEE8-25289E9F9E1F}" type="presParOf" srcId="{35CBA655-D40F-4A2B-B71A-711D392B5A84}" destId="{9DC86AED-B6DB-4100-9EA0-4E60FFB4A367}" srcOrd="0" destOrd="0" presId="urn:microsoft.com/office/officeart/2005/8/layout/orgChart1"/>
    <dgm:cxn modelId="{ECE85AAE-26C6-4AE6-8790-9E2F69FEC8B3}" type="presParOf" srcId="{9DC86AED-B6DB-4100-9EA0-4E60FFB4A367}" destId="{A5F2589C-C16C-45F2-9A3D-F2A6CB2476D1}" srcOrd="0" destOrd="0" presId="urn:microsoft.com/office/officeart/2005/8/layout/orgChart1"/>
    <dgm:cxn modelId="{A7190737-60FA-408C-89C8-9D1C29DD3698}" type="presParOf" srcId="{9DC86AED-B6DB-4100-9EA0-4E60FFB4A367}" destId="{6D7B6648-0B7F-4E1F-B6C5-CE0E2F04B9FF}" srcOrd="1" destOrd="0" presId="urn:microsoft.com/office/officeart/2005/8/layout/orgChart1"/>
    <dgm:cxn modelId="{61CFBD74-365E-43C9-AE73-008549A27DDB}" type="presParOf" srcId="{35CBA655-D40F-4A2B-B71A-711D392B5A84}" destId="{29CE8073-D253-4588-B954-7167D33B1947}" srcOrd="1" destOrd="0" presId="urn:microsoft.com/office/officeart/2005/8/layout/orgChart1"/>
    <dgm:cxn modelId="{69000614-525A-438E-A66C-C677BED54B59}" type="presParOf" srcId="{29CE8073-D253-4588-B954-7167D33B1947}" destId="{AEDC7120-FE6F-49D8-95F2-AB1B2B6AC9A8}" srcOrd="0" destOrd="0" presId="urn:microsoft.com/office/officeart/2005/8/layout/orgChart1"/>
    <dgm:cxn modelId="{4C8C9AD6-86C0-4303-ABF1-2517CD549003}" type="presParOf" srcId="{29CE8073-D253-4588-B954-7167D33B1947}" destId="{F65159AB-B6AE-4C58-BE85-DB4966F15FBA}" srcOrd="1" destOrd="0" presId="urn:microsoft.com/office/officeart/2005/8/layout/orgChart1"/>
    <dgm:cxn modelId="{C2AFAA10-3A35-464A-906E-0620894CC43E}" type="presParOf" srcId="{F65159AB-B6AE-4C58-BE85-DB4966F15FBA}" destId="{4413A7CD-B07B-4481-95F7-63264BEB8326}" srcOrd="0" destOrd="0" presId="urn:microsoft.com/office/officeart/2005/8/layout/orgChart1"/>
    <dgm:cxn modelId="{058CEAA0-0F6A-4248-8140-3D99CAC6FE08}" type="presParOf" srcId="{4413A7CD-B07B-4481-95F7-63264BEB8326}" destId="{6E033C69-6BA8-4812-AE4E-0022A986E944}" srcOrd="0" destOrd="0" presId="urn:microsoft.com/office/officeart/2005/8/layout/orgChart1"/>
    <dgm:cxn modelId="{853CE1C6-1F11-44CD-8C10-E5B17626320E}" type="presParOf" srcId="{4413A7CD-B07B-4481-95F7-63264BEB8326}" destId="{20C564F4-BF5C-4321-B86B-65391CEDEFC7}" srcOrd="1" destOrd="0" presId="urn:microsoft.com/office/officeart/2005/8/layout/orgChart1"/>
    <dgm:cxn modelId="{BA1B6DF5-BAA5-4AA8-908F-09AE6C5F8A8E}" type="presParOf" srcId="{F65159AB-B6AE-4C58-BE85-DB4966F15FBA}" destId="{7C0A51FE-5187-4FBA-A9F6-DFFAA1B3DD3E}" srcOrd="1" destOrd="0" presId="urn:microsoft.com/office/officeart/2005/8/layout/orgChart1"/>
    <dgm:cxn modelId="{2602D836-BC5C-446B-BCEB-50882F0D1A74}" type="presParOf" srcId="{F65159AB-B6AE-4C58-BE85-DB4966F15FBA}" destId="{A5F1F6CB-B812-4FEA-ACD0-E838992C8274}" srcOrd="2" destOrd="0" presId="urn:microsoft.com/office/officeart/2005/8/layout/orgChart1"/>
    <dgm:cxn modelId="{D7F3C5D6-D9D6-4470-8C65-D24E163FCE07}" type="presParOf" srcId="{29CE8073-D253-4588-B954-7167D33B1947}" destId="{28E82B1A-B1F2-4CC5-9B64-B60015CBF624}" srcOrd="2" destOrd="0" presId="urn:microsoft.com/office/officeart/2005/8/layout/orgChart1"/>
    <dgm:cxn modelId="{AF9D1A30-D494-4455-882A-26BBF590F0C5}" type="presParOf" srcId="{29CE8073-D253-4588-B954-7167D33B1947}" destId="{B22DAA2B-22C5-4EFA-A0A6-9AD0235D2103}" srcOrd="3" destOrd="0" presId="urn:microsoft.com/office/officeart/2005/8/layout/orgChart1"/>
    <dgm:cxn modelId="{8F1005A2-2065-4272-8E85-C9F1CF9474A0}" type="presParOf" srcId="{B22DAA2B-22C5-4EFA-A0A6-9AD0235D2103}" destId="{514CA667-AA27-4D37-9311-1D5D85EF643D}" srcOrd="0" destOrd="0" presId="urn:microsoft.com/office/officeart/2005/8/layout/orgChart1"/>
    <dgm:cxn modelId="{2617A677-F95E-48EB-91F0-40CFD1E4A253}" type="presParOf" srcId="{514CA667-AA27-4D37-9311-1D5D85EF643D}" destId="{428A54D9-43F6-47B6-B3A2-FDCE09CB5A97}" srcOrd="0" destOrd="0" presId="urn:microsoft.com/office/officeart/2005/8/layout/orgChart1"/>
    <dgm:cxn modelId="{AAD3914A-2726-4093-9E86-3B24FC0FC0B0}" type="presParOf" srcId="{514CA667-AA27-4D37-9311-1D5D85EF643D}" destId="{31DAB6FE-4097-4695-9397-7DCCE262634B}" srcOrd="1" destOrd="0" presId="urn:microsoft.com/office/officeart/2005/8/layout/orgChart1"/>
    <dgm:cxn modelId="{E48B4B32-B757-446A-A10C-79773795DB2D}" type="presParOf" srcId="{B22DAA2B-22C5-4EFA-A0A6-9AD0235D2103}" destId="{F4CC167B-F2F2-455C-9A45-823F18AFEF9A}" srcOrd="1" destOrd="0" presId="urn:microsoft.com/office/officeart/2005/8/layout/orgChart1"/>
    <dgm:cxn modelId="{E4D5E558-5687-4140-8B9F-933E556884E8}" type="presParOf" srcId="{B22DAA2B-22C5-4EFA-A0A6-9AD0235D2103}" destId="{A5D0575B-48E0-4A98-88E8-8B4961A6F762}" srcOrd="2" destOrd="0" presId="urn:microsoft.com/office/officeart/2005/8/layout/orgChart1"/>
    <dgm:cxn modelId="{F5C4A6CC-A912-4CCF-A8DD-0727741D9A27}" type="presParOf" srcId="{29CE8073-D253-4588-B954-7167D33B1947}" destId="{11628582-088E-42FA-B6EC-953F652565B0}" srcOrd="4" destOrd="0" presId="urn:microsoft.com/office/officeart/2005/8/layout/orgChart1"/>
    <dgm:cxn modelId="{0C4E9ECF-8DE3-4678-A0A1-218D2B21D16F}" type="presParOf" srcId="{29CE8073-D253-4588-B954-7167D33B1947}" destId="{7E6CA653-D7FD-4B20-AE44-C1F44E30C01B}" srcOrd="5" destOrd="0" presId="urn:microsoft.com/office/officeart/2005/8/layout/orgChart1"/>
    <dgm:cxn modelId="{A3EB8F86-AD18-43E0-B480-8141244646BE}" type="presParOf" srcId="{7E6CA653-D7FD-4B20-AE44-C1F44E30C01B}" destId="{E179F35A-A640-480A-9C40-3D39813B5DA3}" srcOrd="0" destOrd="0" presId="urn:microsoft.com/office/officeart/2005/8/layout/orgChart1"/>
    <dgm:cxn modelId="{B226AC2F-1315-477E-A887-040C8C9858CB}" type="presParOf" srcId="{E179F35A-A640-480A-9C40-3D39813B5DA3}" destId="{93507A0E-B606-4F7A-9C01-283769128FF2}" srcOrd="0" destOrd="0" presId="urn:microsoft.com/office/officeart/2005/8/layout/orgChart1"/>
    <dgm:cxn modelId="{7C80BAA1-43E4-4601-8C0A-B2EBD65A1FF2}" type="presParOf" srcId="{E179F35A-A640-480A-9C40-3D39813B5DA3}" destId="{FA7ED8CE-14CF-4D38-BE63-D19E93618025}" srcOrd="1" destOrd="0" presId="urn:microsoft.com/office/officeart/2005/8/layout/orgChart1"/>
    <dgm:cxn modelId="{A2BC31FA-D324-46AF-B52C-5D38BD0968C5}" type="presParOf" srcId="{7E6CA653-D7FD-4B20-AE44-C1F44E30C01B}" destId="{D06BFE77-47E2-4E99-9240-F26F88BFBEAB}" srcOrd="1" destOrd="0" presId="urn:microsoft.com/office/officeart/2005/8/layout/orgChart1"/>
    <dgm:cxn modelId="{B0B63DFC-612F-4D5B-9F9B-CCCA3E62852D}" type="presParOf" srcId="{7E6CA653-D7FD-4B20-AE44-C1F44E30C01B}" destId="{801CA00E-B2B0-4EC5-9889-E9E28C332373}" srcOrd="2" destOrd="0" presId="urn:microsoft.com/office/officeart/2005/8/layout/orgChart1"/>
    <dgm:cxn modelId="{AD0A5DD3-0927-4C73-ADD5-5570B90F3174}" type="presParOf" srcId="{35CBA655-D40F-4A2B-B71A-711D392B5A84}" destId="{528156B2-647C-44D5-ABAD-EBDCDF85B348}" srcOrd="2" destOrd="0" presId="urn:microsoft.com/office/officeart/2005/8/layout/orgChart1"/>
    <dgm:cxn modelId="{3258E9B7-16C0-4F56-82EA-1EAA391EAB3D}" type="presParOf" srcId="{EC72B6B4-B63E-4FE2-8CC2-5FA221770366}" destId="{B562ECC0-9994-4B01-9E77-D5C13C496118}" srcOrd="6" destOrd="0" presId="urn:microsoft.com/office/officeart/2005/8/layout/orgChart1"/>
    <dgm:cxn modelId="{D050ACDC-2616-4241-AEDD-D695C1ECB515}" type="presParOf" srcId="{EC72B6B4-B63E-4FE2-8CC2-5FA221770366}" destId="{E18799E9-9DA7-423F-B7B3-369EFE76B3B6}" srcOrd="7" destOrd="0" presId="urn:microsoft.com/office/officeart/2005/8/layout/orgChart1"/>
    <dgm:cxn modelId="{FFB03D94-6A9A-48A4-AED1-D94FE93EDA76}" type="presParOf" srcId="{E18799E9-9DA7-423F-B7B3-369EFE76B3B6}" destId="{354F8417-6C70-4131-8450-E52EDD2EFA17}" srcOrd="0" destOrd="0" presId="urn:microsoft.com/office/officeart/2005/8/layout/orgChart1"/>
    <dgm:cxn modelId="{D94D02A5-1640-4EF0-869C-112FF6C8DB03}" type="presParOf" srcId="{354F8417-6C70-4131-8450-E52EDD2EFA17}" destId="{67A44139-B3F0-4118-89E8-A44A0D503C36}" srcOrd="0" destOrd="0" presId="urn:microsoft.com/office/officeart/2005/8/layout/orgChart1"/>
    <dgm:cxn modelId="{42B9BFC7-6CA9-48F8-AB5A-13CE8FE3F34F}" type="presParOf" srcId="{354F8417-6C70-4131-8450-E52EDD2EFA17}" destId="{B2267437-59D9-4F70-9854-AF295901641A}" srcOrd="1" destOrd="0" presId="urn:microsoft.com/office/officeart/2005/8/layout/orgChart1"/>
    <dgm:cxn modelId="{0E93F4AC-435A-48D2-9B16-C72AB13EC4C8}" type="presParOf" srcId="{E18799E9-9DA7-423F-B7B3-369EFE76B3B6}" destId="{A6AF8EE9-DBFC-447B-8940-E76A065FD97B}" srcOrd="1" destOrd="0" presId="urn:microsoft.com/office/officeart/2005/8/layout/orgChart1"/>
    <dgm:cxn modelId="{ADF1C6D7-8186-4ECA-B518-3F985B6139E3}" type="presParOf" srcId="{A6AF8EE9-DBFC-447B-8940-E76A065FD97B}" destId="{2BC6CEE4-3F67-4FA6-8639-65EC4CCFF4D9}" srcOrd="0" destOrd="0" presId="urn:microsoft.com/office/officeart/2005/8/layout/orgChart1"/>
    <dgm:cxn modelId="{F1013155-F8E8-45E5-A12D-AEE10620D500}" type="presParOf" srcId="{A6AF8EE9-DBFC-447B-8940-E76A065FD97B}" destId="{56EAD692-CF12-4F08-9E91-48B2A708FB71}" srcOrd="1" destOrd="0" presId="urn:microsoft.com/office/officeart/2005/8/layout/orgChart1"/>
    <dgm:cxn modelId="{99B2D0B4-36AB-4149-82DF-23588CB9DEBD}" type="presParOf" srcId="{56EAD692-CF12-4F08-9E91-48B2A708FB71}" destId="{17485795-B1F1-44AB-A6F9-533EF86E010F}" srcOrd="0" destOrd="0" presId="urn:microsoft.com/office/officeart/2005/8/layout/orgChart1"/>
    <dgm:cxn modelId="{BF48659B-F989-43FB-9AD1-B9E5EE3BDF98}" type="presParOf" srcId="{17485795-B1F1-44AB-A6F9-533EF86E010F}" destId="{1B4F947A-69EB-46FF-A1EA-7664283D213E}" srcOrd="0" destOrd="0" presId="urn:microsoft.com/office/officeart/2005/8/layout/orgChart1"/>
    <dgm:cxn modelId="{BD9D357E-CEB9-4AB4-BA30-659A55C1DC94}" type="presParOf" srcId="{17485795-B1F1-44AB-A6F9-533EF86E010F}" destId="{C553D0C6-AEE4-4F65-8DAC-62449D94D6A7}" srcOrd="1" destOrd="0" presId="urn:microsoft.com/office/officeart/2005/8/layout/orgChart1"/>
    <dgm:cxn modelId="{FA678A80-50BF-47A7-9801-C8D65AE29D5A}" type="presParOf" srcId="{56EAD692-CF12-4F08-9E91-48B2A708FB71}" destId="{704B6FE3-1A93-464C-BD7D-26786EA03069}" srcOrd="1" destOrd="0" presId="urn:microsoft.com/office/officeart/2005/8/layout/orgChart1"/>
    <dgm:cxn modelId="{5E58140E-46C2-4973-B193-A8A936B01E3E}" type="presParOf" srcId="{56EAD692-CF12-4F08-9E91-48B2A708FB71}" destId="{DA9CB0A7-0D84-4FCC-8CAA-C663566F179D}" srcOrd="2" destOrd="0" presId="urn:microsoft.com/office/officeart/2005/8/layout/orgChart1"/>
    <dgm:cxn modelId="{BEEC1A57-69F2-4928-9A30-9DA68FCE3DF6}" type="presParOf" srcId="{A6AF8EE9-DBFC-447B-8940-E76A065FD97B}" destId="{981682D2-6375-4500-994F-C7CC83594561}" srcOrd="2" destOrd="0" presId="urn:microsoft.com/office/officeart/2005/8/layout/orgChart1"/>
    <dgm:cxn modelId="{FD1566E9-7AF6-4296-B1F7-DCB33D1B0787}" type="presParOf" srcId="{A6AF8EE9-DBFC-447B-8940-E76A065FD97B}" destId="{5AD24796-DC78-4C67-B9F3-06DC4CB79087}" srcOrd="3" destOrd="0" presId="urn:microsoft.com/office/officeart/2005/8/layout/orgChart1"/>
    <dgm:cxn modelId="{74D8115D-478C-4EF6-88EA-E92BBCD2EB9C}" type="presParOf" srcId="{5AD24796-DC78-4C67-B9F3-06DC4CB79087}" destId="{0E2F19BE-3966-4520-8470-5F47706807ED}" srcOrd="0" destOrd="0" presId="urn:microsoft.com/office/officeart/2005/8/layout/orgChart1"/>
    <dgm:cxn modelId="{FAAFF904-A517-40AA-A8B6-13FC769991D6}" type="presParOf" srcId="{0E2F19BE-3966-4520-8470-5F47706807ED}" destId="{78B1DB83-1FBB-4B72-AADA-6CBB1DAEF356}" srcOrd="0" destOrd="0" presId="urn:microsoft.com/office/officeart/2005/8/layout/orgChart1"/>
    <dgm:cxn modelId="{911870D8-C0CE-487C-A0CD-392B048DC277}" type="presParOf" srcId="{0E2F19BE-3966-4520-8470-5F47706807ED}" destId="{BB23809A-293F-4A54-B283-6C2D984F118D}" srcOrd="1" destOrd="0" presId="urn:microsoft.com/office/officeart/2005/8/layout/orgChart1"/>
    <dgm:cxn modelId="{D00E4B6F-4AD5-4203-BC48-3BC87FE0D208}" type="presParOf" srcId="{5AD24796-DC78-4C67-B9F3-06DC4CB79087}" destId="{9F248D76-C2BC-4060-8C04-B530C444F409}" srcOrd="1" destOrd="0" presId="urn:microsoft.com/office/officeart/2005/8/layout/orgChart1"/>
    <dgm:cxn modelId="{E075FB9E-9664-45DF-AEC4-F1524F2951B2}" type="presParOf" srcId="{9F248D76-C2BC-4060-8C04-B530C444F409}" destId="{AD70828E-DDD4-480C-BDFF-1E596F6615D1}" srcOrd="0" destOrd="0" presId="urn:microsoft.com/office/officeart/2005/8/layout/orgChart1"/>
    <dgm:cxn modelId="{99A31994-B662-4EAC-8574-47EA8AED74F0}" type="presParOf" srcId="{9F248D76-C2BC-4060-8C04-B530C444F409}" destId="{147EF30B-BA3D-4473-9AD2-CC7014F27C11}" srcOrd="1" destOrd="0" presId="urn:microsoft.com/office/officeart/2005/8/layout/orgChart1"/>
    <dgm:cxn modelId="{BFE0A4EB-9B32-4748-961A-C2C5DB88CA3A}" type="presParOf" srcId="{147EF30B-BA3D-4473-9AD2-CC7014F27C11}" destId="{77306BB1-6CDB-40C5-85B1-4980890A9206}" srcOrd="0" destOrd="0" presId="urn:microsoft.com/office/officeart/2005/8/layout/orgChart1"/>
    <dgm:cxn modelId="{2A6AC53A-A3F7-4F3E-B445-20FAEDC927E7}" type="presParOf" srcId="{77306BB1-6CDB-40C5-85B1-4980890A9206}" destId="{43C79B55-7800-4403-B3B4-49E5363FFF1E}" srcOrd="0" destOrd="0" presId="urn:microsoft.com/office/officeart/2005/8/layout/orgChart1"/>
    <dgm:cxn modelId="{4F62B307-CE16-45AF-9766-2F894905509A}" type="presParOf" srcId="{77306BB1-6CDB-40C5-85B1-4980890A9206}" destId="{FD009694-C9A9-4545-B9B4-AE343C4C6314}" srcOrd="1" destOrd="0" presId="urn:microsoft.com/office/officeart/2005/8/layout/orgChart1"/>
    <dgm:cxn modelId="{615F3CBB-73B6-4CAC-A2B8-A7588D41EE32}" type="presParOf" srcId="{147EF30B-BA3D-4473-9AD2-CC7014F27C11}" destId="{E7CAB4B1-64D6-4507-9B2D-46604CB6848C}" srcOrd="1" destOrd="0" presId="urn:microsoft.com/office/officeart/2005/8/layout/orgChart1"/>
    <dgm:cxn modelId="{6786524D-538E-4F7D-A0B5-518C14C6D47B}" type="presParOf" srcId="{147EF30B-BA3D-4473-9AD2-CC7014F27C11}" destId="{283463B1-15A6-4BEF-B96E-DE2502D9F6DF}" srcOrd="2" destOrd="0" presId="urn:microsoft.com/office/officeart/2005/8/layout/orgChart1"/>
    <dgm:cxn modelId="{F3370792-3088-4261-9D87-F3195BAE0771}" type="presParOf" srcId="{5AD24796-DC78-4C67-B9F3-06DC4CB79087}" destId="{6105CD00-5C50-452A-994E-5B0FFFC4DA91}" srcOrd="2" destOrd="0" presId="urn:microsoft.com/office/officeart/2005/8/layout/orgChart1"/>
    <dgm:cxn modelId="{BBE9A02B-F010-45B5-962F-2FB1645ADDA3}" type="presParOf" srcId="{E18799E9-9DA7-423F-B7B3-369EFE76B3B6}" destId="{430C728D-004C-49FD-A0C1-71CD6E772786}" srcOrd="2" destOrd="0" presId="urn:microsoft.com/office/officeart/2005/8/layout/orgChart1"/>
    <dgm:cxn modelId="{D380D2A1-8597-4944-98AE-286C30677BA7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1800" dirty="0" smtClean="0"/>
            <a:t>Testability</a:t>
          </a:r>
          <a:endParaRPr lang="en-US" sz="18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36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36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600" dirty="0" smtClean="0"/>
            <a:t>Manage controllability and </a:t>
          </a:r>
          <a:r>
            <a:rPr lang="en-US" sz="1600" dirty="0" err="1" smtClean="0"/>
            <a:t>Observability</a:t>
          </a:r>
          <a:endParaRPr lang="en-US" sz="16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36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36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Limit Structural complexity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36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36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600" dirty="0" smtClean="0"/>
            <a:t>Internal Monitoring</a:t>
          </a:r>
          <a:endParaRPr lang="en-US" sz="16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 sz="3600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 sz="3600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600" dirty="0" smtClean="0"/>
            <a:t>Manage Complexity</a:t>
          </a:r>
          <a:endParaRPr lang="en-US" sz="16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 sz="3600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 sz="3600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Limit non-determinism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 sz="3600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 sz="3600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600" dirty="0" smtClean="0"/>
            <a:t>Introduce built-in monitor in the system</a:t>
          </a:r>
          <a:endParaRPr lang="en-US" sz="16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 sz="3600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 sz="3600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600" dirty="0" smtClean="0"/>
            <a:t>Record and playback</a:t>
          </a:r>
          <a:endParaRPr lang="en-US" sz="16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 sz="3600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 sz="3600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600" dirty="0" smtClean="0"/>
            <a:t>Specialized Interface</a:t>
          </a:r>
          <a:endParaRPr lang="en-US" sz="16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 sz="3600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 sz="3600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600" dirty="0" smtClean="0"/>
            <a:t>Separate interface and implementation</a:t>
          </a:r>
          <a:endParaRPr lang="en-US" sz="16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 sz="3600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 sz="3600"/>
        </a:p>
      </dgm:t>
    </dgm:pt>
    <dgm:pt modelId="{0B5A8C4E-0287-4775-89CD-4F33BAC9506F}">
      <dgm:prSet custT="1"/>
      <dgm:spPr/>
      <dgm:t>
        <a:bodyPr/>
        <a:lstStyle/>
        <a:p>
          <a:pPr rtl="0"/>
          <a:r>
            <a:rPr lang="en-US" sz="1600" dirty="0" smtClean="0"/>
            <a:t>Executable assertion</a:t>
          </a:r>
          <a:endParaRPr lang="en-US" sz="1600" dirty="0"/>
        </a:p>
      </dgm:t>
    </dgm:pt>
    <dgm:pt modelId="{EF032B47-594B-4FE2-82AA-11F85DCB3B05}" type="parTrans" cxnId="{BF0DC91D-EC32-48A1-86C8-FAB69550103E}">
      <dgm:prSet/>
      <dgm:spPr/>
      <dgm:t>
        <a:bodyPr/>
        <a:lstStyle/>
        <a:p>
          <a:endParaRPr lang="en-US" sz="3600"/>
        </a:p>
      </dgm:t>
    </dgm:pt>
    <dgm:pt modelId="{54EDCA25-2AA2-4C65-8635-EE0E2A7EF78B}" type="sibTrans" cxnId="{BF0DC91D-EC32-48A1-86C8-FAB69550103E}">
      <dgm:prSet/>
      <dgm:spPr/>
      <dgm:t>
        <a:bodyPr/>
        <a:lstStyle/>
        <a:p>
          <a:endParaRPr lang="en-US" sz="3600"/>
        </a:p>
      </dgm:t>
    </dgm:pt>
    <dgm:pt modelId="{952DAF52-AE68-4172-A6FB-BEC966E0D344}">
      <dgm:prSet custT="1"/>
      <dgm:spPr/>
      <dgm:t>
        <a:bodyPr/>
        <a:lstStyle/>
        <a:p>
          <a:pPr rtl="0"/>
          <a:r>
            <a:rPr lang="en-US" sz="1600" dirty="0" smtClean="0"/>
            <a:t>Localize data store</a:t>
          </a:r>
          <a:endParaRPr lang="en-US" sz="1600" dirty="0"/>
        </a:p>
      </dgm:t>
    </dgm:pt>
    <dgm:pt modelId="{E5A2EAE4-118D-44B2-B409-8CEB91FA5E76}" type="parTrans" cxnId="{0A4F78ED-994E-4775-9792-4F8AFB843E13}">
      <dgm:prSet/>
      <dgm:spPr/>
      <dgm:t>
        <a:bodyPr/>
        <a:lstStyle/>
        <a:p>
          <a:endParaRPr lang="en-US" sz="3600"/>
        </a:p>
      </dgm:t>
    </dgm:pt>
    <dgm:pt modelId="{9F184476-99DB-4158-BA52-C9F0136CB0E4}" type="sibTrans" cxnId="{0A4F78ED-994E-4775-9792-4F8AFB843E13}">
      <dgm:prSet/>
      <dgm:spPr/>
      <dgm:t>
        <a:bodyPr/>
        <a:lstStyle/>
        <a:p>
          <a:endParaRPr lang="en-US" sz="3600"/>
        </a:p>
      </dgm:t>
    </dgm:pt>
    <dgm:pt modelId="{5AFDEC37-303D-4C39-871D-86C74E419A23}">
      <dgm:prSet custT="1"/>
      <dgm:spPr/>
      <dgm:t>
        <a:bodyPr/>
        <a:lstStyle/>
        <a:p>
          <a:pPr rtl="0"/>
          <a:r>
            <a:rPr lang="en-US" sz="1600" dirty="0" smtClean="0"/>
            <a:t>Sandbox</a:t>
          </a:r>
          <a:endParaRPr lang="en-US" sz="1600" dirty="0"/>
        </a:p>
      </dgm:t>
    </dgm:pt>
    <dgm:pt modelId="{38271EC2-1F65-43B3-87B0-6BB11652BC0F}" type="parTrans" cxnId="{C3A4E08C-0B25-4A04-8AD3-550D4D86E432}">
      <dgm:prSet/>
      <dgm:spPr/>
      <dgm:t>
        <a:bodyPr/>
        <a:lstStyle/>
        <a:p>
          <a:endParaRPr lang="en-US" sz="3600"/>
        </a:p>
      </dgm:t>
    </dgm:pt>
    <dgm:pt modelId="{157849EC-686C-46C2-98FE-E58DF03FCC11}" type="sibTrans" cxnId="{C3A4E08C-0B25-4A04-8AD3-550D4D86E432}">
      <dgm:prSet/>
      <dgm:spPr/>
      <dgm:t>
        <a:bodyPr/>
        <a:lstStyle/>
        <a:p>
          <a:endParaRPr lang="en-US" sz="3600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305CB9B7-E4C6-453D-AC39-1DA3FA25C576}" type="pres">
      <dgm:prSet presAssocID="{43BDC9E6-B3ED-4E11-B81F-A36F96CA06AD}" presName="rootComposite1" presStyleCnt="0"/>
      <dgm:spPr/>
      <dgm:t>
        <a:bodyPr/>
        <a:lstStyle/>
        <a:p>
          <a:endParaRPr lang="en-US"/>
        </a:p>
      </dgm:t>
    </dgm:pt>
    <dgm:pt modelId="{1AD90FEA-3135-49C2-A3C0-CFEDDC6405B3}" type="pres">
      <dgm:prSet presAssocID="{43BDC9E6-B3ED-4E11-B81F-A36F96CA06AD}" presName="rootText1" presStyleLbl="node0" presStyleIdx="0" presStyleCnt="1" custScaleX="13224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  <dgm:t>
        <a:bodyPr/>
        <a:lstStyle/>
        <a:p>
          <a:endParaRPr lang="en-US"/>
        </a:p>
      </dgm:t>
    </dgm:pt>
    <dgm:pt modelId="{A3BC68A0-CABF-4126-884C-C90818E1E26E}" type="pres">
      <dgm:prSet presAssocID="{3EEFE082-C4FA-499A-BA01-E4B8217A4B73}" presName="Name37" presStyleLbl="parChTrans1D2" presStyleIdx="0" presStyleCnt="3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F324FB99-E565-440D-9319-A2867DA87756}" type="pres">
      <dgm:prSet presAssocID="{843E3B21-DC9F-4CF8-A7F1-93BF704E47A7}" presName="rootComposite" presStyleCnt="0"/>
      <dgm:spPr/>
      <dgm:t>
        <a:bodyPr/>
        <a:lstStyle/>
        <a:p>
          <a:endParaRPr lang="en-US"/>
        </a:p>
      </dgm:t>
    </dgm:pt>
    <dgm:pt modelId="{5E5C4910-D5C2-4117-9825-0F4E2308A1D4}" type="pres">
      <dgm:prSet presAssocID="{843E3B21-DC9F-4CF8-A7F1-93BF704E47A7}" presName="rootText" presStyleLbl="node2" presStyleIdx="0" presStyleCnt="3" custScaleX="194214" custScaleY="161523" custLinFactX="-100000" custLinFactNeighborX="-116957" custLinFactNeighborY="454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3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  <dgm:t>
        <a:bodyPr/>
        <a:lstStyle/>
        <a:p>
          <a:endParaRPr lang="en-US"/>
        </a:p>
      </dgm:t>
    </dgm:pt>
    <dgm:pt modelId="{A83ED5F7-10A0-45C9-B814-5804FA76917E}" type="pres">
      <dgm:prSet presAssocID="{3722DDF4-26E2-4422-A516-DEEAC3ECF65B}" presName="Name37" presStyleLbl="parChTrans1D3" presStyleIdx="0" presStyleCnt="9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F340CB26-8421-44AC-9592-9BB7E87D96B8}" type="pres">
      <dgm:prSet presAssocID="{720AE7B9-47AD-4FF9-8447-DF1B8C5FD193}" presName="rootComposite" presStyleCnt="0"/>
      <dgm:spPr/>
      <dgm:t>
        <a:bodyPr/>
        <a:lstStyle/>
        <a:p>
          <a:endParaRPr lang="en-US"/>
        </a:p>
      </dgm:t>
    </dgm:pt>
    <dgm:pt modelId="{1064D61A-5C37-497D-A6F5-6312AB6E3F5A}" type="pres">
      <dgm:prSet presAssocID="{720AE7B9-47AD-4FF9-8447-DF1B8C5FD193}" presName="rootText" presStyleLbl="node3" presStyleIdx="0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9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  <dgm:t>
        <a:bodyPr/>
        <a:lstStyle/>
        <a:p>
          <a:endParaRPr lang="en-US"/>
        </a:p>
      </dgm:t>
    </dgm:pt>
    <dgm:pt modelId="{72F3B94E-5E2C-4DF9-BCD5-3D635951032C}" type="pres">
      <dgm:prSet presAssocID="{720AE7B9-47AD-4FF9-8447-DF1B8C5FD193}" presName="hierChild5" presStyleCnt="0"/>
      <dgm:spPr/>
      <dgm:t>
        <a:bodyPr/>
        <a:lstStyle/>
        <a:p>
          <a:endParaRPr lang="en-US"/>
        </a:p>
      </dgm:t>
    </dgm:pt>
    <dgm:pt modelId="{A2B3E9C0-0CE1-4B88-9E71-F7CE1A7F99D7}" type="pres">
      <dgm:prSet presAssocID="{14236E25-24F5-4DBC-8E23-FED5A30DEF0E}" presName="Name37" presStyleLbl="parChTrans1D3" presStyleIdx="1" presStyleCnt="9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DFEF789-40AF-4966-81EA-F7C1CBE52773}" type="pres">
      <dgm:prSet presAssocID="{7D7C3FA2-CE75-4B7D-A218-416906B8D917}" presName="rootComposite" presStyleCnt="0"/>
      <dgm:spPr/>
      <dgm:t>
        <a:bodyPr/>
        <a:lstStyle/>
        <a:p>
          <a:endParaRPr lang="en-US"/>
        </a:p>
      </dgm:t>
    </dgm:pt>
    <dgm:pt modelId="{A77E27D0-EFD7-495B-9E1A-5A5371B8AB84}" type="pres">
      <dgm:prSet presAssocID="{7D7C3FA2-CE75-4B7D-A218-416906B8D917}" presName="rootText" presStyleLbl="node3" presStyleIdx="1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9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  <dgm:t>
        <a:bodyPr/>
        <a:lstStyle/>
        <a:p>
          <a:endParaRPr lang="en-US"/>
        </a:p>
      </dgm:t>
    </dgm:pt>
    <dgm:pt modelId="{E1079AD2-0C8E-44F0-9596-6D504E6161CE}" type="pres">
      <dgm:prSet presAssocID="{7D7C3FA2-CE75-4B7D-A218-416906B8D917}" presName="hierChild5" presStyleCnt="0"/>
      <dgm:spPr/>
      <dgm:t>
        <a:bodyPr/>
        <a:lstStyle/>
        <a:p>
          <a:endParaRPr lang="en-US"/>
        </a:p>
      </dgm:t>
    </dgm:pt>
    <dgm:pt modelId="{50C84909-550F-4BDC-8966-B86E5E1786AE}" type="pres">
      <dgm:prSet presAssocID="{359E2506-5D19-4F9C-8688-C666576175A9}" presName="Name37" presStyleLbl="parChTrans1D3" presStyleIdx="2" presStyleCnt="9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56A22D43-7DD1-46E6-B06A-D1D662EE6DAD}" type="pres">
      <dgm:prSet presAssocID="{9B931718-FC68-4B2E-9854-492BCFE6FE83}" presName="rootComposite" presStyleCnt="0"/>
      <dgm:spPr/>
      <dgm:t>
        <a:bodyPr/>
        <a:lstStyle/>
        <a:p>
          <a:endParaRPr lang="en-US"/>
        </a:p>
      </dgm:t>
    </dgm:pt>
    <dgm:pt modelId="{984A4F3B-0A00-4E5A-9092-1922B8A7FAB3}" type="pres">
      <dgm:prSet presAssocID="{9B931718-FC68-4B2E-9854-492BCFE6FE83}" presName="rootText" presStyleLbl="node3" presStyleIdx="2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9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  <dgm:t>
        <a:bodyPr/>
        <a:lstStyle/>
        <a:p>
          <a:endParaRPr lang="en-US"/>
        </a:p>
      </dgm:t>
    </dgm:pt>
    <dgm:pt modelId="{4E3F742A-A2F5-4971-A026-90DA3CFE956C}" type="pres">
      <dgm:prSet presAssocID="{9B931718-FC68-4B2E-9854-492BCFE6FE83}" presName="hierChild5" presStyleCnt="0"/>
      <dgm:spPr/>
      <dgm:t>
        <a:bodyPr/>
        <a:lstStyle/>
        <a:p>
          <a:endParaRPr lang="en-US"/>
        </a:p>
      </dgm:t>
    </dgm:pt>
    <dgm:pt modelId="{6262AD45-37CE-4E4E-81E1-98A75BFFED33}" type="pres">
      <dgm:prSet presAssocID="{EF032B47-594B-4FE2-82AA-11F85DCB3B05}" presName="Name37" presStyleLbl="parChTrans1D3" presStyleIdx="3" presStyleCnt="9"/>
      <dgm:spPr/>
      <dgm:t>
        <a:bodyPr/>
        <a:lstStyle/>
        <a:p>
          <a:endParaRPr lang="en-US"/>
        </a:p>
      </dgm:t>
    </dgm:pt>
    <dgm:pt modelId="{3BDA7C33-CC97-412E-A3EC-9F252E4F5A5A}" type="pres">
      <dgm:prSet presAssocID="{0B5A8C4E-0287-4775-89CD-4F33BAC9506F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723E1CD-4CEE-4F07-87CD-20B12A8FC827}" type="pres">
      <dgm:prSet presAssocID="{0B5A8C4E-0287-4775-89CD-4F33BAC9506F}" presName="rootComposite" presStyleCnt="0"/>
      <dgm:spPr/>
      <dgm:t>
        <a:bodyPr/>
        <a:lstStyle/>
        <a:p>
          <a:endParaRPr lang="en-US"/>
        </a:p>
      </dgm:t>
    </dgm:pt>
    <dgm:pt modelId="{E8D3E92A-0794-4DFF-ADF5-83A9F9869BDA}" type="pres">
      <dgm:prSet presAssocID="{0B5A8C4E-0287-4775-89CD-4F33BAC9506F}" presName="rootText" presStyleLbl="node3" presStyleIdx="3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F391C2-584B-4F01-9A6E-BB77AA2A997A}" type="pres">
      <dgm:prSet presAssocID="{0B5A8C4E-0287-4775-89CD-4F33BAC9506F}" presName="rootConnector" presStyleLbl="node3" presStyleIdx="3" presStyleCnt="9"/>
      <dgm:spPr/>
      <dgm:t>
        <a:bodyPr/>
        <a:lstStyle/>
        <a:p>
          <a:endParaRPr lang="en-US"/>
        </a:p>
      </dgm:t>
    </dgm:pt>
    <dgm:pt modelId="{B2E11ABB-6C93-42E1-91A1-DB542954BA14}" type="pres">
      <dgm:prSet presAssocID="{0B5A8C4E-0287-4775-89CD-4F33BAC9506F}" presName="hierChild4" presStyleCnt="0"/>
      <dgm:spPr/>
      <dgm:t>
        <a:bodyPr/>
        <a:lstStyle/>
        <a:p>
          <a:endParaRPr lang="en-US"/>
        </a:p>
      </dgm:t>
    </dgm:pt>
    <dgm:pt modelId="{7916A290-6350-41CF-9D02-42ED9408F54E}" type="pres">
      <dgm:prSet presAssocID="{0B5A8C4E-0287-4775-89CD-4F33BAC9506F}" presName="hierChild5" presStyleCnt="0"/>
      <dgm:spPr/>
      <dgm:t>
        <a:bodyPr/>
        <a:lstStyle/>
        <a:p>
          <a:endParaRPr lang="en-US"/>
        </a:p>
      </dgm:t>
    </dgm:pt>
    <dgm:pt modelId="{0AD99682-343B-4485-A14B-DE65F037093C}" type="pres">
      <dgm:prSet presAssocID="{E5A2EAE4-118D-44B2-B409-8CEB91FA5E76}" presName="Name37" presStyleLbl="parChTrans1D3" presStyleIdx="4" presStyleCnt="9"/>
      <dgm:spPr/>
      <dgm:t>
        <a:bodyPr/>
        <a:lstStyle/>
        <a:p>
          <a:endParaRPr lang="en-US"/>
        </a:p>
      </dgm:t>
    </dgm:pt>
    <dgm:pt modelId="{66F58E59-4021-466D-B511-8DE0ABD9D719}" type="pres">
      <dgm:prSet presAssocID="{952DAF52-AE68-4172-A6FB-BEC966E0D344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898F04E-976D-464B-AD88-34BE6A9B7381}" type="pres">
      <dgm:prSet presAssocID="{952DAF52-AE68-4172-A6FB-BEC966E0D344}" presName="rootComposite" presStyleCnt="0"/>
      <dgm:spPr/>
      <dgm:t>
        <a:bodyPr/>
        <a:lstStyle/>
        <a:p>
          <a:endParaRPr lang="en-US"/>
        </a:p>
      </dgm:t>
    </dgm:pt>
    <dgm:pt modelId="{A3E484CC-77C3-47AE-B304-C3AADDD9ACD2}" type="pres">
      <dgm:prSet presAssocID="{952DAF52-AE68-4172-A6FB-BEC966E0D344}" presName="rootText" presStyleLbl="node3" presStyleIdx="4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14B7165-E531-4D80-8A5A-747F5271B944}" type="pres">
      <dgm:prSet presAssocID="{952DAF52-AE68-4172-A6FB-BEC966E0D344}" presName="rootConnector" presStyleLbl="node3" presStyleIdx="4" presStyleCnt="9"/>
      <dgm:spPr/>
      <dgm:t>
        <a:bodyPr/>
        <a:lstStyle/>
        <a:p>
          <a:endParaRPr lang="en-US"/>
        </a:p>
      </dgm:t>
    </dgm:pt>
    <dgm:pt modelId="{E6B0D5A4-884A-4729-864C-B0C32C46727A}" type="pres">
      <dgm:prSet presAssocID="{952DAF52-AE68-4172-A6FB-BEC966E0D344}" presName="hierChild4" presStyleCnt="0"/>
      <dgm:spPr/>
      <dgm:t>
        <a:bodyPr/>
        <a:lstStyle/>
        <a:p>
          <a:endParaRPr lang="en-US"/>
        </a:p>
      </dgm:t>
    </dgm:pt>
    <dgm:pt modelId="{3C160525-5F33-4057-894A-F0C79444ED80}" type="pres">
      <dgm:prSet presAssocID="{952DAF52-AE68-4172-A6FB-BEC966E0D344}" presName="hierChild5" presStyleCnt="0"/>
      <dgm:spPr/>
      <dgm:t>
        <a:bodyPr/>
        <a:lstStyle/>
        <a:p>
          <a:endParaRPr lang="en-US"/>
        </a:p>
      </dgm:t>
    </dgm:pt>
    <dgm:pt modelId="{590C0E8E-9146-4FF8-9E81-E2F73D38D307}" type="pres">
      <dgm:prSet presAssocID="{38271EC2-1F65-43B3-87B0-6BB11652BC0F}" presName="Name37" presStyleLbl="parChTrans1D3" presStyleIdx="5" presStyleCnt="9"/>
      <dgm:spPr/>
      <dgm:t>
        <a:bodyPr/>
        <a:lstStyle/>
        <a:p>
          <a:endParaRPr lang="en-US"/>
        </a:p>
      </dgm:t>
    </dgm:pt>
    <dgm:pt modelId="{B8D035F0-4E87-47D4-93A1-5B4102E15684}" type="pres">
      <dgm:prSet presAssocID="{5AFDEC37-303D-4C39-871D-86C74E419A2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B9618333-C328-4BA9-9084-341029DCBB82}" type="pres">
      <dgm:prSet presAssocID="{5AFDEC37-303D-4C39-871D-86C74E419A23}" presName="rootComposite" presStyleCnt="0"/>
      <dgm:spPr/>
      <dgm:t>
        <a:bodyPr/>
        <a:lstStyle/>
        <a:p>
          <a:endParaRPr lang="en-US"/>
        </a:p>
      </dgm:t>
    </dgm:pt>
    <dgm:pt modelId="{BFAB0065-46B4-4707-8B1B-5AD5D852CD73}" type="pres">
      <dgm:prSet presAssocID="{5AFDEC37-303D-4C39-871D-86C74E419A23}" presName="rootText" presStyleLbl="node3" presStyleIdx="5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2F34D39-2854-4551-9A6B-77D1ED85C57F}" type="pres">
      <dgm:prSet presAssocID="{5AFDEC37-303D-4C39-871D-86C74E419A23}" presName="rootConnector" presStyleLbl="node3" presStyleIdx="5" presStyleCnt="9"/>
      <dgm:spPr/>
      <dgm:t>
        <a:bodyPr/>
        <a:lstStyle/>
        <a:p>
          <a:endParaRPr lang="en-US"/>
        </a:p>
      </dgm:t>
    </dgm:pt>
    <dgm:pt modelId="{6B99D04E-64C1-46E8-9CAF-CC329F9FE5FF}" type="pres">
      <dgm:prSet presAssocID="{5AFDEC37-303D-4C39-871D-86C74E419A23}" presName="hierChild4" presStyleCnt="0"/>
      <dgm:spPr/>
      <dgm:t>
        <a:bodyPr/>
        <a:lstStyle/>
        <a:p>
          <a:endParaRPr lang="en-US"/>
        </a:p>
      </dgm:t>
    </dgm:pt>
    <dgm:pt modelId="{6E716853-CC29-454F-B69D-A971E0A337C3}" type="pres">
      <dgm:prSet presAssocID="{5AFDEC37-303D-4C39-871D-86C74E419A23}" presName="hierChild5" presStyleCnt="0"/>
      <dgm:spPr/>
      <dgm:t>
        <a:bodyPr/>
        <a:lstStyle/>
        <a:p>
          <a:endParaRPr lang="en-US"/>
        </a:p>
      </dgm:t>
    </dgm:pt>
    <dgm:pt modelId="{82355405-192E-42E7-B905-7A6FE845C6D9}" type="pres">
      <dgm:prSet presAssocID="{843E3B21-DC9F-4CF8-A7F1-93BF704E47A7}" presName="hierChild5" presStyleCnt="0"/>
      <dgm:spPr/>
      <dgm:t>
        <a:bodyPr/>
        <a:lstStyle/>
        <a:p>
          <a:endParaRPr lang="en-US"/>
        </a:p>
      </dgm:t>
    </dgm:pt>
    <dgm:pt modelId="{96956835-3386-449C-A89B-65F7C680246D}" type="pres">
      <dgm:prSet presAssocID="{65D088B7-B36E-49AA-84B9-2BC51B326EA1}" presName="Name37" presStyleLbl="parChTrans1D2" presStyleIdx="1" presStyleCnt="3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72B31F8C-4060-4D82-8D0A-8A332812C464}" type="pres">
      <dgm:prSet presAssocID="{E420C67E-C4C2-476B-9B47-FFB47D587009}" presName="rootComposite" presStyleCnt="0"/>
      <dgm:spPr/>
      <dgm:t>
        <a:bodyPr/>
        <a:lstStyle/>
        <a:p>
          <a:endParaRPr lang="en-US"/>
        </a:p>
      </dgm:t>
    </dgm:pt>
    <dgm:pt modelId="{F0ED6141-24DB-4164-A2D4-B51E750525CD}" type="pres">
      <dgm:prSet presAssocID="{E420C67E-C4C2-476B-9B47-FFB47D587009}" presName="rootText" presStyleLbl="node2" presStyleIdx="1" presStyleCnt="3" custScaleX="138290" custScaleY="107228" custLinFactNeighborX="-43292" custLinFactNeighborY="6086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3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  <dgm:t>
        <a:bodyPr/>
        <a:lstStyle/>
        <a:p>
          <a:endParaRPr lang="en-US"/>
        </a:p>
      </dgm:t>
    </dgm:pt>
    <dgm:pt modelId="{CC07306D-4BD7-4477-BB61-A954489058D6}" type="pres">
      <dgm:prSet presAssocID="{C3334397-F4C9-43FD-9DE7-786437A51BF8}" presName="Name37" presStyleLbl="parChTrans1D3" presStyleIdx="6" presStyleCnt="9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D96850F-E3A0-4435-B942-5F48B18AC5F4}" type="pres">
      <dgm:prSet presAssocID="{0216D3CF-84E5-4443-8082-6C6C297E9A4D}" presName="rootComposite" presStyleCnt="0"/>
      <dgm:spPr/>
      <dgm:t>
        <a:bodyPr/>
        <a:lstStyle/>
        <a:p>
          <a:endParaRPr lang="en-US"/>
        </a:p>
      </dgm:t>
    </dgm:pt>
    <dgm:pt modelId="{CBCDE87F-FA6C-44B8-A9C2-1E747BE7F736}" type="pres">
      <dgm:prSet presAssocID="{0216D3CF-84E5-4443-8082-6C6C297E9A4D}" presName="rootText" presStyleLbl="node3" presStyleIdx="6" presStyleCnt="9" custScaleX="223979" custScaleY="161509" custLinFactY="66356" custLinFactNeighborX="-381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6" presStyleCnt="9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  <dgm:t>
        <a:bodyPr/>
        <a:lstStyle/>
        <a:p>
          <a:endParaRPr lang="en-US"/>
        </a:p>
      </dgm:t>
    </dgm:pt>
    <dgm:pt modelId="{7BCCCAFF-8404-460B-9A5A-B8BF91057993}" type="pres">
      <dgm:prSet presAssocID="{0216D3CF-84E5-4443-8082-6C6C297E9A4D}" presName="hierChild5" presStyleCnt="0"/>
      <dgm:spPr/>
      <dgm:t>
        <a:bodyPr/>
        <a:lstStyle/>
        <a:p>
          <a:endParaRPr lang="en-US"/>
        </a:p>
      </dgm:t>
    </dgm:pt>
    <dgm:pt modelId="{1DBB8D6B-1EA9-448A-B87B-A162873E7B21}" type="pres">
      <dgm:prSet presAssocID="{E420C67E-C4C2-476B-9B47-FFB47D587009}" presName="hierChild5" presStyleCnt="0"/>
      <dgm:spPr/>
      <dgm:t>
        <a:bodyPr/>
        <a:lstStyle/>
        <a:p>
          <a:endParaRPr lang="en-US"/>
        </a:p>
      </dgm:t>
    </dgm:pt>
    <dgm:pt modelId="{C137CAE9-66E1-459B-A733-9B53B02E07AF}" type="pres">
      <dgm:prSet presAssocID="{6ED4E1AA-EFDD-4E70-836E-3DB36084DE98}" presName="Name37" presStyleLbl="parChTrans1D2" presStyleIdx="2" presStyleCnt="3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DC86AED-B6DB-4100-9EA0-4E60FFB4A367}" type="pres">
      <dgm:prSet presAssocID="{1CE2D78B-C788-472A-8424-7F9A4AB5205E}" presName="rootComposite" presStyleCnt="0"/>
      <dgm:spPr/>
      <dgm:t>
        <a:bodyPr/>
        <a:lstStyle/>
        <a:p>
          <a:endParaRPr lang="en-US"/>
        </a:p>
      </dgm:t>
    </dgm:pt>
    <dgm:pt modelId="{A5F2589C-C16C-45F2-9A3D-F2A6CB2476D1}" type="pres">
      <dgm:prSet presAssocID="{1CE2D78B-C788-472A-8424-7F9A4AB5205E}" presName="rootText" presStyleLbl="node2" presStyleIdx="2" presStyleCnt="3" custScaleX="150541" custLinFactNeighborX="69761" custLinFactNeighborY="4720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3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  <dgm:t>
        <a:bodyPr/>
        <a:lstStyle/>
        <a:p>
          <a:endParaRPr lang="en-US"/>
        </a:p>
      </dgm:t>
    </dgm:pt>
    <dgm:pt modelId="{AEDC7120-FE6F-49D8-95F2-AB1B2B6AC9A8}" type="pres">
      <dgm:prSet presAssocID="{F0BD47AB-7AC9-40A2-A96D-1A911EFDE7FF}" presName="Name37" presStyleLbl="parChTrans1D3" presStyleIdx="7" presStyleCnt="9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413A7CD-B07B-4481-95F7-63264BEB8326}" type="pres">
      <dgm:prSet presAssocID="{A240A1E1-162D-4A6E-A806-B6FF45B3AB68}" presName="rootComposite" presStyleCnt="0"/>
      <dgm:spPr/>
      <dgm:t>
        <a:bodyPr/>
        <a:lstStyle/>
        <a:p>
          <a:endParaRPr lang="en-US"/>
        </a:p>
      </dgm:t>
    </dgm:pt>
    <dgm:pt modelId="{6E033C69-6BA8-4812-AE4E-0022A986E944}" type="pres">
      <dgm:prSet presAssocID="{A240A1E1-162D-4A6E-A806-B6FF45B3AB68}" presName="rootText" presStyleLbl="node3" presStyleIdx="7" presStyleCnt="9" custScaleX="177156" custLinFactX="490" custLinFactY="41635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7" presStyleCnt="9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  <dgm:t>
        <a:bodyPr/>
        <a:lstStyle/>
        <a:p>
          <a:endParaRPr lang="en-US"/>
        </a:p>
      </dgm:t>
    </dgm:pt>
    <dgm:pt modelId="{A5F1F6CB-B812-4FEA-ACD0-E838992C8274}" type="pres">
      <dgm:prSet presAssocID="{A240A1E1-162D-4A6E-A806-B6FF45B3AB68}" presName="hierChild5" presStyleCnt="0"/>
      <dgm:spPr/>
      <dgm:t>
        <a:bodyPr/>
        <a:lstStyle/>
        <a:p>
          <a:endParaRPr lang="en-US"/>
        </a:p>
      </dgm:t>
    </dgm:pt>
    <dgm:pt modelId="{28E82B1A-B1F2-4CC5-9B64-B60015CBF624}" type="pres">
      <dgm:prSet presAssocID="{A60BCA66-49BB-4275-9110-8B471B3FC59B}" presName="Name37" presStyleLbl="parChTrans1D3" presStyleIdx="8" presStyleCnt="9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514CA667-AA27-4D37-9311-1D5D85EF643D}" type="pres">
      <dgm:prSet presAssocID="{35016019-1F0E-47A9-A9CB-AE98C0AFCFC1}" presName="rootComposite" presStyleCnt="0"/>
      <dgm:spPr/>
      <dgm:t>
        <a:bodyPr/>
        <a:lstStyle/>
        <a:p>
          <a:endParaRPr lang="en-US"/>
        </a:p>
      </dgm:t>
    </dgm:pt>
    <dgm:pt modelId="{428A54D9-43F6-47B6-B3A2-FDCE09CB5A97}" type="pres">
      <dgm:prSet presAssocID="{35016019-1F0E-47A9-A9CB-AE98C0AFCFC1}" presName="rootText" presStyleLbl="node3" presStyleIdx="8" presStyleCnt="9" custScaleX="177156" custLinFactX="490" custLinFactY="46741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8" presStyleCnt="9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  <dgm:t>
        <a:bodyPr/>
        <a:lstStyle/>
        <a:p>
          <a:endParaRPr lang="en-US"/>
        </a:p>
      </dgm:t>
    </dgm:pt>
    <dgm:pt modelId="{A5D0575B-48E0-4A98-88E8-8B4961A6F762}" type="pres">
      <dgm:prSet presAssocID="{35016019-1F0E-47A9-A9CB-AE98C0AFCFC1}" presName="hierChild5" presStyleCnt="0"/>
      <dgm:spPr/>
      <dgm:t>
        <a:bodyPr/>
        <a:lstStyle/>
        <a:p>
          <a:endParaRPr lang="en-US"/>
        </a:p>
      </dgm:t>
    </dgm:pt>
    <dgm:pt modelId="{528156B2-647C-44D5-ABAD-EBDCDF85B348}" type="pres">
      <dgm:prSet presAssocID="{1CE2D78B-C788-472A-8424-7F9A4AB5205E}" presName="hierChild5" presStyleCnt="0"/>
      <dgm:spPr/>
      <dgm:t>
        <a:bodyPr/>
        <a:lstStyle/>
        <a:p>
          <a:endParaRPr lang="en-US"/>
        </a:p>
      </dgm:t>
    </dgm:pt>
    <dgm:pt modelId="{B87F60ED-85BE-4872-BA6E-CDCB9CBDC6A3}" type="pres">
      <dgm:prSet presAssocID="{43BDC9E6-B3ED-4E11-B81F-A36F96CA06AD}" presName="hierChild3" presStyleCnt="0"/>
      <dgm:spPr/>
      <dgm:t>
        <a:bodyPr/>
        <a:lstStyle/>
        <a:p>
          <a:endParaRPr lang="en-US"/>
        </a:p>
      </dgm:t>
    </dgm:pt>
  </dgm:ptLst>
  <dgm:cxnLst>
    <dgm:cxn modelId="{FBB9A736-9C2B-44FD-A724-A12E20988EE9}" type="presOf" srcId="{E5A2EAE4-118D-44B2-B409-8CEB91FA5E76}" destId="{0AD99682-343B-4485-A14B-DE65F037093C}" srcOrd="0" destOrd="0" presId="urn:microsoft.com/office/officeart/2005/8/layout/orgChart1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D1F83B79-2994-4317-B456-CF390F408C56}" type="presOf" srcId="{3EEFE082-C4FA-499A-BA01-E4B8217A4B73}" destId="{A3BC68A0-CABF-4126-884C-C90818E1E26E}" srcOrd="0" destOrd="0" presId="urn:microsoft.com/office/officeart/2005/8/layout/orgChart1"/>
    <dgm:cxn modelId="{3A7B6271-E844-43BE-84BF-24499D9DD2B2}" type="presOf" srcId="{C3334397-F4C9-43FD-9DE7-786437A51BF8}" destId="{CC07306D-4BD7-4477-BB61-A954489058D6}" srcOrd="0" destOrd="0" presId="urn:microsoft.com/office/officeart/2005/8/layout/orgChart1"/>
    <dgm:cxn modelId="{B43CEBDD-E335-49F5-B602-4253B01FC8EE}" type="presOf" srcId="{720AE7B9-47AD-4FF9-8447-DF1B8C5FD193}" destId="{1064D61A-5C37-497D-A6F5-6312AB6E3F5A}" srcOrd="0" destOrd="0" presId="urn:microsoft.com/office/officeart/2005/8/layout/orgChart1"/>
    <dgm:cxn modelId="{334D15EA-1444-4587-B84D-E7E501237306}" type="presOf" srcId="{359E2506-5D19-4F9C-8688-C666576175A9}" destId="{50C84909-550F-4BDC-8966-B86E5E1786AE}" srcOrd="0" destOrd="0" presId="urn:microsoft.com/office/officeart/2005/8/layout/orgChart1"/>
    <dgm:cxn modelId="{8C011A4A-C1DE-40B9-9097-73853352AED0}" type="presOf" srcId="{E420C67E-C4C2-476B-9B47-FFB47D587009}" destId="{45256018-C335-4CDB-9EC5-7AE2ABAC1E00}" srcOrd="1" destOrd="0" presId="urn:microsoft.com/office/officeart/2005/8/layout/orgChart1"/>
    <dgm:cxn modelId="{3A17B7E3-25FE-479F-885C-7741DFF75159}" type="presOf" srcId="{A60BCA66-49BB-4275-9110-8B471B3FC59B}" destId="{28E82B1A-B1F2-4CC5-9B64-B60015CBF624}" srcOrd="0" destOrd="0" presId="urn:microsoft.com/office/officeart/2005/8/layout/orgChart1"/>
    <dgm:cxn modelId="{6A21934C-994F-4A9F-962B-9BCA8D97F66D}" type="presOf" srcId="{A26E1133-27F8-42A1-91FE-23383B9ACC99}" destId="{E9F5810C-05C5-4937-8779-609DD6BD5CFD}" srcOrd="0" destOrd="0" presId="urn:microsoft.com/office/officeart/2005/8/layout/orgChart1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81A3F2B3-0005-428F-93F7-7F519DF73AA1}" type="presOf" srcId="{7D7C3FA2-CE75-4B7D-A218-416906B8D917}" destId="{63F8734B-291F-4EE9-8AEC-5D7130065FE8}" srcOrd="1" destOrd="0" presId="urn:microsoft.com/office/officeart/2005/8/layout/orgChart1"/>
    <dgm:cxn modelId="{0D71FF63-0E14-4A88-9B75-5BE5B1AD4CCC}" type="presOf" srcId="{0B5A8C4E-0287-4775-89CD-4F33BAC9506F}" destId="{E8D3E92A-0794-4DFF-ADF5-83A9F9869BDA}" srcOrd="0" destOrd="0" presId="urn:microsoft.com/office/officeart/2005/8/layout/orgChart1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0EAF4CCC-9D2C-4078-9014-3B03A36BDD2F}" type="presOf" srcId="{38271EC2-1F65-43B3-87B0-6BB11652BC0F}" destId="{590C0E8E-9146-4FF8-9E81-E2F73D38D307}" srcOrd="0" destOrd="0" presId="urn:microsoft.com/office/officeart/2005/8/layout/orgChart1"/>
    <dgm:cxn modelId="{012877C2-965A-4453-AD9A-E265341CF66C}" type="presOf" srcId="{720AE7B9-47AD-4FF9-8447-DF1B8C5FD193}" destId="{1D0BA542-EABF-46D4-A11D-8954A50A4A27}" srcOrd="1" destOrd="0" presId="urn:microsoft.com/office/officeart/2005/8/layout/orgChart1"/>
    <dgm:cxn modelId="{3CEF5769-D988-4AAA-9F4D-C78D62F3D948}" type="presOf" srcId="{0216D3CF-84E5-4443-8082-6C6C297E9A4D}" destId="{CBCDE87F-FA6C-44B8-A9C2-1E747BE7F736}" srcOrd="0" destOrd="0" presId="urn:microsoft.com/office/officeart/2005/8/layout/orgChart1"/>
    <dgm:cxn modelId="{F2269CC5-160F-4230-BE76-A4FBBE0CCFBC}" type="presOf" srcId="{1CE2D78B-C788-472A-8424-7F9A4AB5205E}" destId="{6D7B6648-0B7F-4E1F-B6C5-CE0E2F04B9FF}" srcOrd="1" destOrd="0" presId="urn:microsoft.com/office/officeart/2005/8/layout/orgChart1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C3A4E08C-0B25-4A04-8AD3-550D4D86E432}" srcId="{843E3B21-DC9F-4CF8-A7F1-93BF704E47A7}" destId="{5AFDEC37-303D-4C39-871D-86C74E419A23}" srcOrd="5" destOrd="0" parTransId="{38271EC2-1F65-43B3-87B0-6BB11652BC0F}" sibTransId="{157849EC-686C-46C2-98FE-E58DF03FCC11}"/>
    <dgm:cxn modelId="{676AEE38-D812-4AAA-B910-BDFA771FCC1C}" type="presOf" srcId="{9B931718-FC68-4B2E-9854-492BCFE6FE83}" destId="{984A4F3B-0A00-4E5A-9092-1922B8A7FAB3}" srcOrd="0" destOrd="0" presId="urn:microsoft.com/office/officeart/2005/8/layout/orgChart1"/>
    <dgm:cxn modelId="{D71C36B7-3F5D-4378-96A4-E077CC211AF7}" type="presOf" srcId="{0B5A8C4E-0287-4775-89CD-4F33BAC9506F}" destId="{E4F391C2-584B-4F01-9A6E-BB77AA2A997A}" srcOrd="1" destOrd="0" presId="urn:microsoft.com/office/officeart/2005/8/layout/orgChart1"/>
    <dgm:cxn modelId="{4B3F3C37-E75B-4DB5-B739-71DE521D4A74}" type="presOf" srcId="{843E3B21-DC9F-4CF8-A7F1-93BF704E47A7}" destId="{5E5C4910-D5C2-4117-9825-0F4E2308A1D4}" srcOrd="0" destOrd="0" presId="urn:microsoft.com/office/officeart/2005/8/layout/orgChart1"/>
    <dgm:cxn modelId="{4AF15C8F-9434-4B98-94A2-D75F446A69A6}" type="presOf" srcId="{3722DDF4-26E2-4422-A516-DEEAC3ECF65B}" destId="{A83ED5F7-10A0-45C9-B814-5804FA76917E}" srcOrd="0" destOrd="0" presId="urn:microsoft.com/office/officeart/2005/8/layout/orgChart1"/>
    <dgm:cxn modelId="{5881558E-ABAE-4D54-8364-53BE205BFB4C}" type="presOf" srcId="{E420C67E-C4C2-476B-9B47-FFB47D587009}" destId="{F0ED6141-24DB-4164-A2D4-B51E750525CD}" srcOrd="0" destOrd="0" presId="urn:microsoft.com/office/officeart/2005/8/layout/orgChart1"/>
    <dgm:cxn modelId="{BF0DC91D-EC32-48A1-86C8-FAB69550103E}" srcId="{843E3B21-DC9F-4CF8-A7F1-93BF704E47A7}" destId="{0B5A8C4E-0287-4775-89CD-4F33BAC9506F}" srcOrd="3" destOrd="0" parTransId="{EF032B47-594B-4FE2-82AA-11F85DCB3B05}" sibTransId="{54EDCA25-2AA2-4C65-8635-EE0E2A7EF78B}"/>
    <dgm:cxn modelId="{A12D8334-64CB-44C1-A284-108BDE859B90}" type="presOf" srcId="{5AFDEC37-303D-4C39-871D-86C74E419A23}" destId="{BFAB0065-46B4-4707-8B1B-5AD5D852CD73}" srcOrd="0" destOrd="0" presId="urn:microsoft.com/office/officeart/2005/8/layout/orgChart1"/>
    <dgm:cxn modelId="{EB4B0006-969A-45D1-A3E9-1821404A9306}" type="presOf" srcId="{1CE2D78B-C788-472A-8424-7F9A4AB5205E}" destId="{A5F2589C-C16C-45F2-9A3D-F2A6CB2476D1}" srcOrd="0" destOrd="0" presId="urn:microsoft.com/office/officeart/2005/8/layout/orgChart1"/>
    <dgm:cxn modelId="{D9A8752E-B0C9-406A-A0B4-A1AEB63D821A}" type="presOf" srcId="{A240A1E1-162D-4A6E-A806-B6FF45B3AB68}" destId="{6E033C69-6BA8-4812-AE4E-0022A986E944}" srcOrd="0" destOrd="0" presId="urn:microsoft.com/office/officeart/2005/8/layout/orgChart1"/>
    <dgm:cxn modelId="{F38ADCAE-6530-4783-9FDC-11F40757C5A2}" type="presOf" srcId="{0216D3CF-84E5-4443-8082-6C6C297E9A4D}" destId="{CF9F174C-7D69-49F6-A7FE-7ED9990EB82A}" srcOrd="1" destOrd="0" presId="urn:microsoft.com/office/officeart/2005/8/layout/orgChart1"/>
    <dgm:cxn modelId="{A7EFECE3-3467-4E56-9E1F-5926C2371082}" type="presOf" srcId="{952DAF52-AE68-4172-A6FB-BEC966E0D344}" destId="{A3E484CC-77C3-47AE-B304-C3AADDD9ACD2}" srcOrd="0" destOrd="0" presId="urn:microsoft.com/office/officeart/2005/8/layout/orgChart1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3ABA604E-08A9-43A0-A11A-385DDF4B11D8}" type="presOf" srcId="{5AFDEC37-303D-4C39-871D-86C74E419A23}" destId="{52F34D39-2854-4551-9A6B-77D1ED85C57F}" srcOrd="1" destOrd="0" presId="urn:microsoft.com/office/officeart/2005/8/layout/orgChart1"/>
    <dgm:cxn modelId="{DE2E2092-2060-4E00-9093-1B643AA7CC05}" type="presOf" srcId="{6ED4E1AA-EFDD-4E70-836E-3DB36084DE98}" destId="{C137CAE9-66E1-459B-A733-9B53B02E07AF}" srcOrd="0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AE2CE03C-8546-4C57-8C51-E00EED5D3A58}" type="presOf" srcId="{843E3B21-DC9F-4CF8-A7F1-93BF704E47A7}" destId="{AB22B6A5-BFAD-4E5F-BED0-C002FA69FEEF}" srcOrd="1" destOrd="0" presId="urn:microsoft.com/office/officeart/2005/8/layout/orgChart1"/>
    <dgm:cxn modelId="{F11EF830-E7A4-46C6-8428-9457C4AE459F}" type="presOf" srcId="{43BDC9E6-B3ED-4E11-B81F-A36F96CA06AD}" destId="{6EF86BC6-06CE-4768-9942-F4420543D5EE}" srcOrd="1" destOrd="0" presId="urn:microsoft.com/office/officeart/2005/8/layout/orgChart1"/>
    <dgm:cxn modelId="{CBA5B839-1296-4FBE-AAB0-DE88F698BB9E}" type="presOf" srcId="{43BDC9E6-B3ED-4E11-B81F-A36F96CA06AD}" destId="{1AD90FEA-3135-49C2-A3C0-CFEDDC6405B3}" srcOrd="0" destOrd="0" presId="urn:microsoft.com/office/officeart/2005/8/layout/orgChart1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AAA12582-5E68-4D3F-BADF-21BF910F5852}" type="presOf" srcId="{9B931718-FC68-4B2E-9854-492BCFE6FE83}" destId="{700B55C8-272E-490B-AB5F-A5C6369E8C79}" srcOrd="1" destOrd="0" presId="urn:microsoft.com/office/officeart/2005/8/layout/orgChart1"/>
    <dgm:cxn modelId="{1634B4D9-F991-4323-94CE-D5C0A3B5E0C7}" type="presOf" srcId="{EF032B47-594B-4FE2-82AA-11F85DCB3B05}" destId="{6262AD45-37CE-4E4E-81E1-98A75BFFED33}" srcOrd="0" destOrd="0" presId="urn:microsoft.com/office/officeart/2005/8/layout/orgChart1"/>
    <dgm:cxn modelId="{E40DE2BF-91BA-45B6-96D8-FC12B0137554}" type="presOf" srcId="{A240A1E1-162D-4A6E-A806-B6FF45B3AB68}" destId="{20C564F4-BF5C-4321-B86B-65391CEDEFC7}" srcOrd="1" destOrd="0" presId="urn:microsoft.com/office/officeart/2005/8/layout/orgChart1"/>
    <dgm:cxn modelId="{0A4F78ED-994E-4775-9792-4F8AFB843E13}" srcId="{843E3B21-DC9F-4CF8-A7F1-93BF704E47A7}" destId="{952DAF52-AE68-4172-A6FB-BEC966E0D344}" srcOrd="4" destOrd="0" parTransId="{E5A2EAE4-118D-44B2-B409-8CEB91FA5E76}" sibTransId="{9F184476-99DB-4158-BA52-C9F0136CB0E4}"/>
    <dgm:cxn modelId="{2F25328E-46E0-4462-B3F1-2CCDD5615FAC}" type="presOf" srcId="{35016019-1F0E-47A9-A9CB-AE98C0AFCFC1}" destId="{428A54D9-43F6-47B6-B3A2-FDCE09CB5A97}" srcOrd="0" destOrd="0" presId="urn:microsoft.com/office/officeart/2005/8/layout/orgChart1"/>
    <dgm:cxn modelId="{D7DEE3A8-3245-4CDE-A61C-6567CBC2BB8D}" type="presOf" srcId="{35016019-1F0E-47A9-A9CB-AE98C0AFCFC1}" destId="{31DAB6FE-4097-4695-9397-7DCCE262634B}" srcOrd="1" destOrd="0" presId="urn:microsoft.com/office/officeart/2005/8/layout/orgChart1"/>
    <dgm:cxn modelId="{13BFFFCB-9A29-4E8C-8057-D49C3C6B88B8}" type="presOf" srcId="{7D7C3FA2-CE75-4B7D-A218-416906B8D917}" destId="{A77E27D0-EFD7-495B-9E1A-5A5371B8AB84}" srcOrd="0" destOrd="0" presId="urn:microsoft.com/office/officeart/2005/8/layout/orgChart1"/>
    <dgm:cxn modelId="{2AC4A798-110C-4526-87FA-0B96BD18BBF4}" type="presOf" srcId="{65D088B7-B36E-49AA-84B9-2BC51B326EA1}" destId="{96956835-3386-449C-A89B-65F7C680246D}" srcOrd="0" destOrd="0" presId="urn:microsoft.com/office/officeart/2005/8/layout/orgChart1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CE6E2A88-FDDE-47AD-8705-A2C035540672}" type="presOf" srcId="{F0BD47AB-7AC9-40A2-A96D-1A911EFDE7FF}" destId="{AEDC7120-FE6F-49D8-95F2-AB1B2B6AC9A8}" srcOrd="0" destOrd="0" presId="urn:microsoft.com/office/officeart/2005/8/layout/orgChart1"/>
    <dgm:cxn modelId="{0C09C7DB-D5F0-4727-A12D-4577DBE9B9EE}" type="presOf" srcId="{14236E25-24F5-4DBC-8E23-FED5A30DEF0E}" destId="{A2B3E9C0-0CE1-4B88-9E71-F7CE1A7F99D7}" srcOrd="0" destOrd="0" presId="urn:microsoft.com/office/officeart/2005/8/layout/orgChart1"/>
    <dgm:cxn modelId="{642DC8F7-193D-472F-A5F3-D38B342D982F}" type="presOf" srcId="{952DAF52-AE68-4172-A6FB-BEC966E0D344}" destId="{D14B7165-E531-4D80-8A5A-747F5271B944}" srcOrd="1" destOrd="0" presId="urn:microsoft.com/office/officeart/2005/8/layout/orgChart1"/>
    <dgm:cxn modelId="{5C165F62-F440-4EF0-AC10-B5BB917CAC86}" type="presParOf" srcId="{E9F5810C-05C5-4937-8779-609DD6BD5CFD}" destId="{25A00B3E-FEA8-439F-999E-8DB6BC95DBC0}" srcOrd="0" destOrd="0" presId="urn:microsoft.com/office/officeart/2005/8/layout/orgChart1"/>
    <dgm:cxn modelId="{A098A972-160E-48B8-982F-034C6A4A92F8}" type="presParOf" srcId="{25A00B3E-FEA8-439F-999E-8DB6BC95DBC0}" destId="{305CB9B7-E4C6-453D-AC39-1DA3FA25C576}" srcOrd="0" destOrd="0" presId="urn:microsoft.com/office/officeart/2005/8/layout/orgChart1"/>
    <dgm:cxn modelId="{B56EE753-7A0C-4428-9F49-D19A5EA29AC5}" type="presParOf" srcId="{305CB9B7-E4C6-453D-AC39-1DA3FA25C576}" destId="{1AD90FEA-3135-49C2-A3C0-CFEDDC6405B3}" srcOrd="0" destOrd="0" presId="urn:microsoft.com/office/officeart/2005/8/layout/orgChart1"/>
    <dgm:cxn modelId="{7FED4055-3981-41A3-B184-72DED5EFCC91}" type="presParOf" srcId="{305CB9B7-E4C6-453D-AC39-1DA3FA25C576}" destId="{6EF86BC6-06CE-4768-9942-F4420543D5EE}" srcOrd="1" destOrd="0" presId="urn:microsoft.com/office/officeart/2005/8/layout/orgChart1"/>
    <dgm:cxn modelId="{7925C4C2-123C-4ACF-B27C-414A3DDB09BD}" type="presParOf" srcId="{25A00B3E-FEA8-439F-999E-8DB6BC95DBC0}" destId="{EC72B6B4-B63E-4FE2-8CC2-5FA221770366}" srcOrd="1" destOrd="0" presId="urn:microsoft.com/office/officeart/2005/8/layout/orgChart1"/>
    <dgm:cxn modelId="{7C0F0479-7718-4457-AEF1-06AFE361807E}" type="presParOf" srcId="{EC72B6B4-B63E-4FE2-8CC2-5FA221770366}" destId="{A3BC68A0-CABF-4126-884C-C90818E1E26E}" srcOrd="0" destOrd="0" presId="urn:microsoft.com/office/officeart/2005/8/layout/orgChart1"/>
    <dgm:cxn modelId="{F946D922-D8FF-4AFA-81FF-384C0F07CBB0}" type="presParOf" srcId="{EC72B6B4-B63E-4FE2-8CC2-5FA221770366}" destId="{9B84C5AA-6259-445A-8F7A-6D366FCBB4AD}" srcOrd="1" destOrd="0" presId="urn:microsoft.com/office/officeart/2005/8/layout/orgChart1"/>
    <dgm:cxn modelId="{CD4749B3-9AC9-44ED-A038-C586931AA002}" type="presParOf" srcId="{9B84C5AA-6259-445A-8F7A-6D366FCBB4AD}" destId="{F324FB99-E565-440D-9319-A2867DA87756}" srcOrd="0" destOrd="0" presId="urn:microsoft.com/office/officeart/2005/8/layout/orgChart1"/>
    <dgm:cxn modelId="{08FB7309-9159-4F43-9DA9-53403EC2F6A1}" type="presParOf" srcId="{F324FB99-E565-440D-9319-A2867DA87756}" destId="{5E5C4910-D5C2-4117-9825-0F4E2308A1D4}" srcOrd="0" destOrd="0" presId="urn:microsoft.com/office/officeart/2005/8/layout/orgChart1"/>
    <dgm:cxn modelId="{7244B992-D212-46AA-BEE6-EBB69FD54278}" type="presParOf" srcId="{F324FB99-E565-440D-9319-A2867DA87756}" destId="{AB22B6A5-BFAD-4E5F-BED0-C002FA69FEEF}" srcOrd="1" destOrd="0" presId="urn:microsoft.com/office/officeart/2005/8/layout/orgChart1"/>
    <dgm:cxn modelId="{63AE452C-8FE4-4A73-8637-B352E327B341}" type="presParOf" srcId="{9B84C5AA-6259-445A-8F7A-6D366FCBB4AD}" destId="{16186025-4BC6-46E2-97F6-F9084F02632D}" srcOrd="1" destOrd="0" presId="urn:microsoft.com/office/officeart/2005/8/layout/orgChart1"/>
    <dgm:cxn modelId="{B11E3E0D-5FE9-4793-8B6D-F9079EA2BA3E}" type="presParOf" srcId="{16186025-4BC6-46E2-97F6-F9084F02632D}" destId="{A83ED5F7-10A0-45C9-B814-5804FA76917E}" srcOrd="0" destOrd="0" presId="urn:microsoft.com/office/officeart/2005/8/layout/orgChart1"/>
    <dgm:cxn modelId="{5B134A4C-EB8B-4477-BDC8-7A2757395435}" type="presParOf" srcId="{16186025-4BC6-46E2-97F6-F9084F02632D}" destId="{D44CFE56-6231-4D51-BDF4-F9842887D455}" srcOrd="1" destOrd="0" presId="urn:microsoft.com/office/officeart/2005/8/layout/orgChart1"/>
    <dgm:cxn modelId="{CA1B6992-44F3-4B0D-ABAA-7F3F2001AFCD}" type="presParOf" srcId="{D44CFE56-6231-4D51-BDF4-F9842887D455}" destId="{F340CB26-8421-44AC-9592-9BB7E87D96B8}" srcOrd="0" destOrd="0" presId="urn:microsoft.com/office/officeart/2005/8/layout/orgChart1"/>
    <dgm:cxn modelId="{4A63BBE4-2796-4727-80D4-4D36A380BED9}" type="presParOf" srcId="{F340CB26-8421-44AC-9592-9BB7E87D96B8}" destId="{1064D61A-5C37-497D-A6F5-6312AB6E3F5A}" srcOrd="0" destOrd="0" presId="urn:microsoft.com/office/officeart/2005/8/layout/orgChart1"/>
    <dgm:cxn modelId="{7014E99C-6FBD-40DE-A62C-81F0185B9EFD}" type="presParOf" srcId="{F340CB26-8421-44AC-9592-9BB7E87D96B8}" destId="{1D0BA542-EABF-46D4-A11D-8954A50A4A27}" srcOrd="1" destOrd="0" presId="urn:microsoft.com/office/officeart/2005/8/layout/orgChart1"/>
    <dgm:cxn modelId="{B5CF419F-A4B1-4872-87E4-A77DA6CE61CF}" type="presParOf" srcId="{D44CFE56-6231-4D51-BDF4-F9842887D455}" destId="{CB5479DD-BB83-4A7F-A8FE-0204BBEBDE57}" srcOrd="1" destOrd="0" presId="urn:microsoft.com/office/officeart/2005/8/layout/orgChart1"/>
    <dgm:cxn modelId="{6A74B8A8-B326-41B4-AAD4-F1F0AD7ABFBB}" type="presParOf" srcId="{D44CFE56-6231-4D51-BDF4-F9842887D455}" destId="{72F3B94E-5E2C-4DF9-BCD5-3D635951032C}" srcOrd="2" destOrd="0" presId="urn:microsoft.com/office/officeart/2005/8/layout/orgChart1"/>
    <dgm:cxn modelId="{865FA992-863E-4D9C-A227-8AD81A84DACF}" type="presParOf" srcId="{16186025-4BC6-46E2-97F6-F9084F02632D}" destId="{A2B3E9C0-0CE1-4B88-9E71-F7CE1A7F99D7}" srcOrd="2" destOrd="0" presId="urn:microsoft.com/office/officeart/2005/8/layout/orgChart1"/>
    <dgm:cxn modelId="{842DAA91-57C6-4F0C-9D97-F76007F0CE0F}" type="presParOf" srcId="{16186025-4BC6-46E2-97F6-F9084F02632D}" destId="{16797127-63BB-4E8C-8005-5E72B3FF9B3C}" srcOrd="3" destOrd="0" presId="urn:microsoft.com/office/officeart/2005/8/layout/orgChart1"/>
    <dgm:cxn modelId="{B771AAF4-8479-4AED-A4E5-63DC7AF8CB20}" type="presParOf" srcId="{16797127-63BB-4E8C-8005-5E72B3FF9B3C}" destId="{4DFEF789-40AF-4966-81EA-F7C1CBE52773}" srcOrd="0" destOrd="0" presId="urn:microsoft.com/office/officeart/2005/8/layout/orgChart1"/>
    <dgm:cxn modelId="{DBECDA48-C5D4-4ACE-9181-D5BE578ED0FA}" type="presParOf" srcId="{4DFEF789-40AF-4966-81EA-F7C1CBE52773}" destId="{A77E27D0-EFD7-495B-9E1A-5A5371B8AB84}" srcOrd="0" destOrd="0" presId="urn:microsoft.com/office/officeart/2005/8/layout/orgChart1"/>
    <dgm:cxn modelId="{08F4CB96-C5DE-4782-BCB4-0A5AF001A3E4}" type="presParOf" srcId="{4DFEF789-40AF-4966-81EA-F7C1CBE52773}" destId="{63F8734B-291F-4EE9-8AEC-5D7130065FE8}" srcOrd="1" destOrd="0" presId="urn:microsoft.com/office/officeart/2005/8/layout/orgChart1"/>
    <dgm:cxn modelId="{EA355A51-25A5-4425-A510-7DCB011D8842}" type="presParOf" srcId="{16797127-63BB-4E8C-8005-5E72B3FF9B3C}" destId="{F1241E53-1837-4666-9A60-B6AD42958195}" srcOrd="1" destOrd="0" presId="urn:microsoft.com/office/officeart/2005/8/layout/orgChart1"/>
    <dgm:cxn modelId="{A9E8D9C1-26B7-4C86-B50E-9AF9C856EB5C}" type="presParOf" srcId="{16797127-63BB-4E8C-8005-5E72B3FF9B3C}" destId="{E1079AD2-0C8E-44F0-9596-6D504E6161CE}" srcOrd="2" destOrd="0" presId="urn:microsoft.com/office/officeart/2005/8/layout/orgChart1"/>
    <dgm:cxn modelId="{F4FD4924-4825-447C-B119-77673482713C}" type="presParOf" srcId="{16186025-4BC6-46E2-97F6-F9084F02632D}" destId="{50C84909-550F-4BDC-8966-B86E5E1786AE}" srcOrd="4" destOrd="0" presId="urn:microsoft.com/office/officeart/2005/8/layout/orgChart1"/>
    <dgm:cxn modelId="{CA9FA35A-BB70-4B8F-88D7-A49D201927DE}" type="presParOf" srcId="{16186025-4BC6-46E2-97F6-F9084F02632D}" destId="{EBCAC25B-3E97-4708-AA7E-0D44E4C06B2C}" srcOrd="5" destOrd="0" presId="urn:microsoft.com/office/officeart/2005/8/layout/orgChart1"/>
    <dgm:cxn modelId="{CEBB8F29-C832-411B-B01E-8E94F80BF943}" type="presParOf" srcId="{EBCAC25B-3E97-4708-AA7E-0D44E4C06B2C}" destId="{56A22D43-7DD1-46E6-B06A-D1D662EE6DAD}" srcOrd="0" destOrd="0" presId="urn:microsoft.com/office/officeart/2005/8/layout/orgChart1"/>
    <dgm:cxn modelId="{9206B56E-39A0-4C97-943B-1B6101B5104A}" type="presParOf" srcId="{56A22D43-7DD1-46E6-B06A-D1D662EE6DAD}" destId="{984A4F3B-0A00-4E5A-9092-1922B8A7FAB3}" srcOrd="0" destOrd="0" presId="urn:microsoft.com/office/officeart/2005/8/layout/orgChart1"/>
    <dgm:cxn modelId="{B7807EAF-C1E0-4C5A-B111-B4C248B57EB2}" type="presParOf" srcId="{56A22D43-7DD1-46E6-B06A-D1D662EE6DAD}" destId="{700B55C8-272E-490B-AB5F-A5C6369E8C79}" srcOrd="1" destOrd="0" presId="urn:microsoft.com/office/officeart/2005/8/layout/orgChart1"/>
    <dgm:cxn modelId="{AC793321-EA69-4EC9-BD09-EF1DB59B888E}" type="presParOf" srcId="{EBCAC25B-3E97-4708-AA7E-0D44E4C06B2C}" destId="{18D6C1B6-F902-4ABE-BB60-086B907C1C3A}" srcOrd="1" destOrd="0" presId="urn:microsoft.com/office/officeart/2005/8/layout/orgChart1"/>
    <dgm:cxn modelId="{7F57E5E1-BFEA-4D4C-AB7A-F8BA4BB54104}" type="presParOf" srcId="{EBCAC25B-3E97-4708-AA7E-0D44E4C06B2C}" destId="{4E3F742A-A2F5-4971-A026-90DA3CFE956C}" srcOrd="2" destOrd="0" presId="urn:microsoft.com/office/officeart/2005/8/layout/orgChart1"/>
    <dgm:cxn modelId="{0197DF97-DEB2-4CC4-9384-A9696B1D3B14}" type="presParOf" srcId="{16186025-4BC6-46E2-97F6-F9084F02632D}" destId="{6262AD45-37CE-4E4E-81E1-98A75BFFED33}" srcOrd="6" destOrd="0" presId="urn:microsoft.com/office/officeart/2005/8/layout/orgChart1"/>
    <dgm:cxn modelId="{A1711D2A-FA39-4971-9CC4-1B2887F3E5F2}" type="presParOf" srcId="{16186025-4BC6-46E2-97F6-F9084F02632D}" destId="{3BDA7C33-CC97-412E-A3EC-9F252E4F5A5A}" srcOrd="7" destOrd="0" presId="urn:microsoft.com/office/officeart/2005/8/layout/orgChart1"/>
    <dgm:cxn modelId="{D9785914-FCA7-445B-BEF7-B7B392076B2B}" type="presParOf" srcId="{3BDA7C33-CC97-412E-A3EC-9F252E4F5A5A}" destId="{2723E1CD-4CEE-4F07-87CD-20B12A8FC827}" srcOrd="0" destOrd="0" presId="urn:microsoft.com/office/officeart/2005/8/layout/orgChart1"/>
    <dgm:cxn modelId="{DBE88FD3-AC7E-4EAD-ABE2-95FC58B825E1}" type="presParOf" srcId="{2723E1CD-4CEE-4F07-87CD-20B12A8FC827}" destId="{E8D3E92A-0794-4DFF-ADF5-83A9F9869BDA}" srcOrd="0" destOrd="0" presId="urn:microsoft.com/office/officeart/2005/8/layout/orgChart1"/>
    <dgm:cxn modelId="{AA8CABCC-23F1-41DB-BB55-0B69BED85775}" type="presParOf" srcId="{2723E1CD-4CEE-4F07-87CD-20B12A8FC827}" destId="{E4F391C2-584B-4F01-9A6E-BB77AA2A997A}" srcOrd="1" destOrd="0" presId="urn:microsoft.com/office/officeart/2005/8/layout/orgChart1"/>
    <dgm:cxn modelId="{0CB21B28-7400-4A85-95F3-8D35DDFF20A7}" type="presParOf" srcId="{3BDA7C33-CC97-412E-A3EC-9F252E4F5A5A}" destId="{B2E11ABB-6C93-42E1-91A1-DB542954BA14}" srcOrd="1" destOrd="0" presId="urn:microsoft.com/office/officeart/2005/8/layout/orgChart1"/>
    <dgm:cxn modelId="{A79363BA-6942-4A3D-96EE-EF91FC3A098D}" type="presParOf" srcId="{3BDA7C33-CC97-412E-A3EC-9F252E4F5A5A}" destId="{7916A290-6350-41CF-9D02-42ED9408F54E}" srcOrd="2" destOrd="0" presId="urn:microsoft.com/office/officeart/2005/8/layout/orgChart1"/>
    <dgm:cxn modelId="{41444A68-C978-4FB9-B16D-E074A8AF67DA}" type="presParOf" srcId="{16186025-4BC6-46E2-97F6-F9084F02632D}" destId="{0AD99682-343B-4485-A14B-DE65F037093C}" srcOrd="8" destOrd="0" presId="urn:microsoft.com/office/officeart/2005/8/layout/orgChart1"/>
    <dgm:cxn modelId="{EADE158F-2672-424C-A81A-1FA8153B337D}" type="presParOf" srcId="{16186025-4BC6-46E2-97F6-F9084F02632D}" destId="{66F58E59-4021-466D-B511-8DE0ABD9D719}" srcOrd="9" destOrd="0" presId="urn:microsoft.com/office/officeart/2005/8/layout/orgChart1"/>
    <dgm:cxn modelId="{A7F4E4F8-316F-423D-B177-B07FC7362989}" type="presParOf" srcId="{66F58E59-4021-466D-B511-8DE0ABD9D719}" destId="{2898F04E-976D-464B-AD88-34BE6A9B7381}" srcOrd="0" destOrd="0" presId="urn:microsoft.com/office/officeart/2005/8/layout/orgChart1"/>
    <dgm:cxn modelId="{5085A75D-3F5B-48E0-BC4D-4B6CEF4C09CF}" type="presParOf" srcId="{2898F04E-976D-464B-AD88-34BE6A9B7381}" destId="{A3E484CC-77C3-47AE-B304-C3AADDD9ACD2}" srcOrd="0" destOrd="0" presId="urn:microsoft.com/office/officeart/2005/8/layout/orgChart1"/>
    <dgm:cxn modelId="{15A23A02-0AC0-4C01-AEF7-E97981EB6F04}" type="presParOf" srcId="{2898F04E-976D-464B-AD88-34BE6A9B7381}" destId="{D14B7165-E531-4D80-8A5A-747F5271B944}" srcOrd="1" destOrd="0" presId="urn:microsoft.com/office/officeart/2005/8/layout/orgChart1"/>
    <dgm:cxn modelId="{4314DF3C-18DD-4A4D-A88E-93BB3CAFC36D}" type="presParOf" srcId="{66F58E59-4021-466D-B511-8DE0ABD9D719}" destId="{E6B0D5A4-884A-4729-864C-B0C32C46727A}" srcOrd="1" destOrd="0" presId="urn:microsoft.com/office/officeart/2005/8/layout/orgChart1"/>
    <dgm:cxn modelId="{036D9D8F-1727-4EAB-BAAE-197140A59F4C}" type="presParOf" srcId="{66F58E59-4021-466D-B511-8DE0ABD9D719}" destId="{3C160525-5F33-4057-894A-F0C79444ED80}" srcOrd="2" destOrd="0" presId="urn:microsoft.com/office/officeart/2005/8/layout/orgChart1"/>
    <dgm:cxn modelId="{DA95B370-8AF7-4404-B9F5-E598FF525DE1}" type="presParOf" srcId="{16186025-4BC6-46E2-97F6-F9084F02632D}" destId="{590C0E8E-9146-4FF8-9E81-E2F73D38D307}" srcOrd="10" destOrd="0" presId="urn:microsoft.com/office/officeart/2005/8/layout/orgChart1"/>
    <dgm:cxn modelId="{C712A8FA-DAA4-46FF-AE0A-9BC80995F2C7}" type="presParOf" srcId="{16186025-4BC6-46E2-97F6-F9084F02632D}" destId="{B8D035F0-4E87-47D4-93A1-5B4102E15684}" srcOrd="11" destOrd="0" presId="urn:microsoft.com/office/officeart/2005/8/layout/orgChart1"/>
    <dgm:cxn modelId="{7EB831E7-3330-4654-9691-D1C3678394F8}" type="presParOf" srcId="{B8D035F0-4E87-47D4-93A1-5B4102E15684}" destId="{B9618333-C328-4BA9-9084-341029DCBB82}" srcOrd="0" destOrd="0" presId="urn:microsoft.com/office/officeart/2005/8/layout/orgChart1"/>
    <dgm:cxn modelId="{4AEB7DC3-8565-43FE-90D1-65ABF1862C3F}" type="presParOf" srcId="{B9618333-C328-4BA9-9084-341029DCBB82}" destId="{BFAB0065-46B4-4707-8B1B-5AD5D852CD73}" srcOrd="0" destOrd="0" presId="urn:microsoft.com/office/officeart/2005/8/layout/orgChart1"/>
    <dgm:cxn modelId="{09A5EA78-2666-4E95-A623-740DF66D2240}" type="presParOf" srcId="{B9618333-C328-4BA9-9084-341029DCBB82}" destId="{52F34D39-2854-4551-9A6B-77D1ED85C57F}" srcOrd="1" destOrd="0" presId="urn:microsoft.com/office/officeart/2005/8/layout/orgChart1"/>
    <dgm:cxn modelId="{8D6AE5CD-222D-4194-84D3-D15F599D5FAA}" type="presParOf" srcId="{B8D035F0-4E87-47D4-93A1-5B4102E15684}" destId="{6B99D04E-64C1-46E8-9CAF-CC329F9FE5FF}" srcOrd="1" destOrd="0" presId="urn:microsoft.com/office/officeart/2005/8/layout/orgChart1"/>
    <dgm:cxn modelId="{724E444A-E865-4AC3-A7E1-E2EE22DAF23B}" type="presParOf" srcId="{B8D035F0-4E87-47D4-93A1-5B4102E15684}" destId="{6E716853-CC29-454F-B69D-A971E0A337C3}" srcOrd="2" destOrd="0" presId="urn:microsoft.com/office/officeart/2005/8/layout/orgChart1"/>
    <dgm:cxn modelId="{C0843509-A974-4A90-BAD9-CDF13E2413CC}" type="presParOf" srcId="{9B84C5AA-6259-445A-8F7A-6D366FCBB4AD}" destId="{82355405-192E-42E7-B905-7A6FE845C6D9}" srcOrd="2" destOrd="0" presId="urn:microsoft.com/office/officeart/2005/8/layout/orgChart1"/>
    <dgm:cxn modelId="{F9710D4C-7EC7-4F97-B6CC-6CA6812CE1F0}" type="presParOf" srcId="{EC72B6B4-B63E-4FE2-8CC2-5FA221770366}" destId="{96956835-3386-449C-A89B-65F7C680246D}" srcOrd="2" destOrd="0" presId="urn:microsoft.com/office/officeart/2005/8/layout/orgChart1"/>
    <dgm:cxn modelId="{4E294C29-BA8C-48C6-880F-93BB9D80F1AF}" type="presParOf" srcId="{EC72B6B4-B63E-4FE2-8CC2-5FA221770366}" destId="{DBD72DFC-EF80-4973-B6E5-D3C9AB052F9E}" srcOrd="3" destOrd="0" presId="urn:microsoft.com/office/officeart/2005/8/layout/orgChart1"/>
    <dgm:cxn modelId="{1A16D448-ED66-459E-8BDE-8DE4AD0A984A}" type="presParOf" srcId="{DBD72DFC-EF80-4973-B6E5-D3C9AB052F9E}" destId="{72B31F8C-4060-4D82-8D0A-8A332812C464}" srcOrd="0" destOrd="0" presId="urn:microsoft.com/office/officeart/2005/8/layout/orgChart1"/>
    <dgm:cxn modelId="{892682C8-ABDC-4CC3-8403-01620090D1E4}" type="presParOf" srcId="{72B31F8C-4060-4D82-8D0A-8A332812C464}" destId="{F0ED6141-24DB-4164-A2D4-B51E750525CD}" srcOrd="0" destOrd="0" presId="urn:microsoft.com/office/officeart/2005/8/layout/orgChart1"/>
    <dgm:cxn modelId="{05D1F8D3-F9EC-4AB2-818D-0F379F334B55}" type="presParOf" srcId="{72B31F8C-4060-4D82-8D0A-8A332812C464}" destId="{45256018-C335-4CDB-9EC5-7AE2ABAC1E00}" srcOrd="1" destOrd="0" presId="urn:microsoft.com/office/officeart/2005/8/layout/orgChart1"/>
    <dgm:cxn modelId="{9F668C95-60F9-4D81-B528-E6632B796C55}" type="presParOf" srcId="{DBD72DFC-EF80-4973-B6E5-D3C9AB052F9E}" destId="{2A7D3334-4741-4667-BCDB-1A78491B4FD4}" srcOrd="1" destOrd="0" presId="urn:microsoft.com/office/officeart/2005/8/layout/orgChart1"/>
    <dgm:cxn modelId="{4137A4DF-E94B-445A-8D0B-90077675AAE8}" type="presParOf" srcId="{2A7D3334-4741-4667-BCDB-1A78491B4FD4}" destId="{CC07306D-4BD7-4477-BB61-A954489058D6}" srcOrd="0" destOrd="0" presId="urn:microsoft.com/office/officeart/2005/8/layout/orgChart1"/>
    <dgm:cxn modelId="{E51A58B9-DB7F-4B47-A620-841706D30FEF}" type="presParOf" srcId="{2A7D3334-4741-4667-BCDB-1A78491B4FD4}" destId="{0ECB6EE9-64D7-46FB-8A0A-B83CD370F0B4}" srcOrd="1" destOrd="0" presId="urn:microsoft.com/office/officeart/2005/8/layout/orgChart1"/>
    <dgm:cxn modelId="{85AE5665-9830-4942-A396-761683660699}" type="presParOf" srcId="{0ECB6EE9-64D7-46FB-8A0A-B83CD370F0B4}" destId="{9D96850F-E3A0-4435-B942-5F48B18AC5F4}" srcOrd="0" destOrd="0" presId="urn:microsoft.com/office/officeart/2005/8/layout/orgChart1"/>
    <dgm:cxn modelId="{0C43767F-F50E-4477-A019-D1E06FA00E36}" type="presParOf" srcId="{9D96850F-E3A0-4435-B942-5F48B18AC5F4}" destId="{CBCDE87F-FA6C-44B8-A9C2-1E747BE7F736}" srcOrd="0" destOrd="0" presId="urn:microsoft.com/office/officeart/2005/8/layout/orgChart1"/>
    <dgm:cxn modelId="{964E99F9-F3F4-4835-83FE-2F579EAD7EA6}" type="presParOf" srcId="{9D96850F-E3A0-4435-B942-5F48B18AC5F4}" destId="{CF9F174C-7D69-49F6-A7FE-7ED9990EB82A}" srcOrd="1" destOrd="0" presId="urn:microsoft.com/office/officeart/2005/8/layout/orgChart1"/>
    <dgm:cxn modelId="{45571FD8-8031-42D9-841F-208AC8BCCE64}" type="presParOf" srcId="{0ECB6EE9-64D7-46FB-8A0A-B83CD370F0B4}" destId="{1934090D-CBAE-4AB8-9BE7-C9762145998D}" srcOrd="1" destOrd="0" presId="urn:microsoft.com/office/officeart/2005/8/layout/orgChart1"/>
    <dgm:cxn modelId="{94AB6BE6-DE7F-4226-8BE6-46E45C652755}" type="presParOf" srcId="{0ECB6EE9-64D7-46FB-8A0A-B83CD370F0B4}" destId="{7BCCCAFF-8404-460B-9A5A-B8BF91057993}" srcOrd="2" destOrd="0" presId="urn:microsoft.com/office/officeart/2005/8/layout/orgChart1"/>
    <dgm:cxn modelId="{1E4D59B9-F3AF-4DCC-9F36-14C10D222B3B}" type="presParOf" srcId="{DBD72DFC-EF80-4973-B6E5-D3C9AB052F9E}" destId="{1DBB8D6B-1EA9-448A-B87B-A162873E7B21}" srcOrd="2" destOrd="0" presId="urn:microsoft.com/office/officeart/2005/8/layout/orgChart1"/>
    <dgm:cxn modelId="{37321554-8C90-4826-A5A4-D39842E92DC1}" type="presParOf" srcId="{EC72B6B4-B63E-4FE2-8CC2-5FA221770366}" destId="{C137CAE9-66E1-459B-A733-9B53B02E07AF}" srcOrd="4" destOrd="0" presId="urn:microsoft.com/office/officeart/2005/8/layout/orgChart1"/>
    <dgm:cxn modelId="{4900F3A5-E2BB-47A8-BD19-519DF3ED589F}" type="presParOf" srcId="{EC72B6B4-B63E-4FE2-8CC2-5FA221770366}" destId="{35CBA655-D40F-4A2B-B71A-711D392B5A84}" srcOrd="5" destOrd="0" presId="urn:microsoft.com/office/officeart/2005/8/layout/orgChart1"/>
    <dgm:cxn modelId="{6CC27E83-5524-437A-A7CF-0E69369FAA9D}" type="presParOf" srcId="{35CBA655-D40F-4A2B-B71A-711D392B5A84}" destId="{9DC86AED-B6DB-4100-9EA0-4E60FFB4A367}" srcOrd="0" destOrd="0" presId="urn:microsoft.com/office/officeart/2005/8/layout/orgChart1"/>
    <dgm:cxn modelId="{F7EF152D-8928-49D9-83E0-9B5A3C52A7D3}" type="presParOf" srcId="{9DC86AED-B6DB-4100-9EA0-4E60FFB4A367}" destId="{A5F2589C-C16C-45F2-9A3D-F2A6CB2476D1}" srcOrd="0" destOrd="0" presId="urn:microsoft.com/office/officeart/2005/8/layout/orgChart1"/>
    <dgm:cxn modelId="{DD71DEB5-01B2-4138-A9CE-A4D096C41F0E}" type="presParOf" srcId="{9DC86AED-B6DB-4100-9EA0-4E60FFB4A367}" destId="{6D7B6648-0B7F-4E1F-B6C5-CE0E2F04B9FF}" srcOrd="1" destOrd="0" presId="urn:microsoft.com/office/officeart/2005/8/layout/orgChart1"/>
    <dgm:cxn modelId="{CA7E4FFB-098B-4C5F-BAB0-2080BE0E541B}" type="presParOf" srcId="{35CBA655-D40F-4A2B-B71A-711D392B5A84}" destId="{29CE8073-D253-4588-B954-7167D33B1947}" srcOrd="1" destOrd="0" presId="urn:microsoft.com/office/officeart/2005/8/layout/orgChart1"/>
    <dgm:cxn modelId="{40572B4C-5860-4D16-A877-4AC9D381DCD1}" type="presParOf" srcId="{29CE8073-D253-4588-B954-7167D33B1947}" destId="{AEDC7120-FE6F-49D8-95F2-AB1B2B6AC9A8}" srcOrd="0" destOrd="0" presId="urn:microsoft.com/office/officeart/2005/8/layout/orgChart1"/>
    <dgm:cxn modelId="{CA1C6A9C-99C7-4143-B389-887ADA6544BB}" type="presParOf" srcId="{29CE8073-D253-4588-B954-7167D33B1947}" destId="{F65159AB-B6AE-4C58-BE85-DB4966F15FBA}" srcOrd="1" destOrd="0" presId="urn:microsoft.com/office/officeart/2005/8/layout/orgChart1"/>
    <dgm:cxn modelId="{E7BFC6C9-1596-4533-A41D-21590E498BFA}" type="presParOf" srcId="{F65159AB-B6AE-4C58-BE85-DB4966F15FBA}" destId="{4413A7CD-B07B-4481-95F7-63264BEB8326}" srcOrd="0" destOrd="0" presId="urn:microsoft.com/office/officeart/2005/8/layout/orgChart1"/>
    <dgm:cxn modelId="{CDA03DF4-4B58-4650-B908-4A879B015D7E}" type="presParOf" srcId="{4413A7CD-B07B-4481-95F7-63264BEB8326}" destId="{6E033C69-6BA8-4812-AE4E-0022A986E944}" srcOrd="0" destOrd="0" presId="urn:microsoft.com/office/officeart/2005/8/layout/orgChart1"/>
    <dgm:cxn modelId="{29D5E838-C731-44F2-A82B-5922CB3E82D4}" type="presParOf" srcId="{4413A7CD-B07B-4481-95F7-63264BEB8326}" destId="{20C564F4-BF5C-4321-B86B-65391CEDEFC7}" srcOrd="1" destOrd="0" presId="urn:microsoft.com/office/officeart/2005/8/layout/orgChart1"/>
    <dgm:cxn modelId="{49925547-A5E1-4A74-A250-A3F2A0831863}" type="presParOf" srcId="{F65159AB-B6AE-4C58-BE85-DB4966F15FBA}" destId="{7C0A51FE-5187-4FBA-A9F6-DFFAA1B3DD3E}" srcOrd="1" destOrd="0" presId="urn:microsoft.com/office/officeart/2005/8/layout/orgChart1"/>
    <dgm:cxn modelId="{18513477-366A-40FA-9F80-FC17EE5ECA40}" type="presParOf" srcId="{F65159AB-B6AE-4C58-BE85-DB4966F15FBA}" destId="{A5F1F6CB-B812-4FEA-ACD0-E838992C8274}" srcOrd="2" destOrd="0" presId="urn:microsoft.com/office/officeart/2005/8/layout/orgChart1"/>
    <dgm:cxn modelId="{ACBEBD21-014C-494F-BC85-F587805A1052}" type="presParOf" srcId="{29CE8073-D253-4588-B954-7167D33B1947}" destId="{28E82B1A-B1F2-4CC5-9B64-B60015CBF624}" srcOrd="2" destOrd="0" presId="urn:microsoft.com/office/officeart/2005/8/layout/orgChart1"/>
    <dgm:cxn modelId="{A08F4FE7-6DD7-46AB-8E57-7CA9BB002873}" type="presParOf" srcId="{29CE8073-D253-4588-B954-7167D33B1947}" destId="{B22DAA2B-22C5-4EFA-A0A6-9AD0235D2103}" srcOrd="3" destOrd="0" presId="urn:microsoft.com/office/officeart/2005/8/layout/orgChart1"/>
    <dgm:cxn modelId="{F2940FE8-8FD4-460A-948B-A8722C77976A}" type="presParOf" srcId="{B22DAA2B-22C5-4EFA-A0A6-9AD0235D2103}" destId="{514CA667-AA27-4D37-9311-1D5D85EF643D}" srcOrd="0" destOrd="0" presId="urn:microsoft.com/office/officeart/2005/8/layout/orgChart1"/>
    <dgm:cxn modelId="{00761DF0-C594-4D5C-A760-2627DAE3A8B7}" type="presParOf" srcId="{514CA667-AA27-4D37-9311-1D5D85EF643D}" destId="{428A54D9-43F6-47B6-B3A2-FDCE09CB5A97}" srcOrd="0" destOrd="0" presId="urn:microsoft.com/office/officeart/2005/8/layout/orgChart1"/>
    <dgm:cxn modelId="{EF95B388-8239-40D3-89AD-4B8A9674E5AE}" type="presParOf" srcId="{514CA667-AA27-4D37-9311-1D5D85EF643D}" destId="{31DAB6FE-4097-4695-9397-7DCCE262634B}" srcOrd="1" destOrd="0" presId="urn:microsoft.com/office/officeart/2005/8/layout/orgChart1"/>
    <dgm:cxn modelId="{7D408C70-8095-48BA-B5D2-8D27DC328A44}" type="presParOf" srcId="{B22DAA2B-22C5-4EFA-A0A6-9AD0235D2103}" destId="{F4CC167B-F2F2-455C-9A45-823F18AFEF9A}" srcOrd="1" destOrd="0" presId="urn:microsoft.com/office/officeart/2005/8/layout/orgChart1"/>
    <dgm:cxn modelId="{18AE7228-0AB0-4C39-BD39-7B9D27119DB3}" type="presParOf" srcId="{B22DAA2B-22C5-4EFA-A0A6-9AD0235D2103}" destId="{A5D0575B-48E0-4A98-88E8-8B4961A6F762}" srcOrd="2" destOrd="0" presId="urn:microsoft.com/office/officeart/2005/8/layout/orgChart1"/>
    <dgm:cxn modelId="{69E6A863-6108-4F37-8361-02FAA0C05D38}" type="presParOf" srcId="{35CBA655-D40F-4A2B-B71A-711D392B5A84}" destId="{528156B2-647C-44D5-ABAD-EBDCDF85B348}" srcOrd="2" destOrd="0" presId="urn:microsoft.com/office/officeart/2005/8/layout/orgChart1"/>
    <dgm:cxn modelId="{E371D766-8195-4E6C-9F7B-F9E3CA260FEA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70828E-DDD4-480C-BDFF-1E596F6615D1}">
      <dsp:nvSpPr>
        <dsp:cNvPr id="0" name=""/>
        <dsp:cNvSpPr/>
      </dsp:nvSpPr>
      <dsp:spPr>
        <a:xfrm>
          <a:off x="6262109" y="3599426"/>
          <a:ext cx="161382" cy="7150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5036"/>
              </a:lnTo>
              <a:lnTo>
                <a:pt x="161382" y="715036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1682D2-6375-4500-994F-C7CC83594561}">
      <dsp:nvSpPr>
        <dsp:cNvPr id="0" name=""/>
        <dsp:cNvSpPr/>
      </dsp:nvSpPr>
      <dsp:spPr>
        <a:xfrm>
          <a:off x="6800998" y="1480042"/>
          <a:ext cx="125546" cy="16647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69219"/>
              </a:lnTo>
              <a:lnTo>
                <a:pt x="125546" y="1569219"/>
              </a:lnTo>
              <a:lnTo>
                <a:pt x="125546" y="166470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C6CEE4-3F67-4FA6-8639-65EC4CCFF4D9}">
      <dsp:nvSpPr>
        <dsp:cNvPr id="0" name=""/>
        <dsp:cNvSpPr/>
      </dsp:nvSpPr>
      <dsp:spPr>
        <a:xfrm>
          <a:off x="6800998" y="1480042"/>
          <a:ext cx="821501" cy="7256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0147"/>
              </a:lnTo>
              <a:lnTo>
                <a:pt x="821501" y="630147"/>
              </a:lnTo>
              <a:lnTo>
                <a:pt x="821501" y="72563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62ECC0-9994-4B01-9E77-D5C13C496118}">
      <dsp:nvSpPr>
        <dsp:cNvPr id="0" name=""/>
        <dsp:cNvSpPr/>
      </dsp:nvSpPr>
      <dsp:spPr>
        <a:xfrm>
          <a:off x="3655945" y="313207"/>
          <a:ext cx="3145052" cy="7121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16670"/>
              </a:lnTo>
              <a:lnTo>
                <a:pt x="3145052" y="616670"/>
              </a:lnTo>
              <a:lnTo>
                <a:pt x="3145052" y="71215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628582-088E-42FA-B6EC-953F652565B0}">
      <dsp:nvSpPr>
        <dsp:cNvPr id="0" name=""/>
        <dsp:cNvSpPr/>
      </dsp:nvSpPr>
      <dsp:spPr>
        <a:xfrm>
          <a:off x="4308473" y="1501853"/>
          <a:ext cx="279530" cy="20988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98841"/>
              </a:lnTo>
              <a:lnTo>
                <a:pt x="279530" y="209884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E82B1A-B1F2-4CC5-9B64-B60015CBF624}">
      <dsp:nvSpPr>
        <dsp:cNvPr id="0" name=""/>
        <dsp:cNvSpPr/>
      </dsp:nvSpPr>
      <dsp:spPr>
        <a:xfrm>
          <a:off x="4308473" y="1501853"/>
          <a:ext cx="279530" cy="14531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53194"/>
              </a:lnTo>
              <a:lnTo>
                <a:pt x="279530" y="145319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4308473" y="1501853"/>
          <a:ext cx="279530" cy="8075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07546"/>
              </a:lnTo>
              <a:lnTo>
                <a:pt x="279530" y="807546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3655945" y="313207"/>
          <a:ext cx="1076538" cy="7339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8481"/>
              </a:lnTo>
              <a:lnTo>
                <a:pt x="1076538" y="638481"/>
              </a:lnTo>
              <a:lnTo>
                <a:pt x="1076538" y="733964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40857E-8E92-4FD3-BB54-32F6C167CD09}">
      <dsp:nvSpPr>
        <dsp:cNvPr id="0" name=""/>
        <dsp:cNvSpPr/>
      </dsp:nvSpPr>
      <dsp:spPr>
        <a:xfrm>
          <a:off x="2224532" y="1477523"/>
          <a:ext cx="92664" cy="33243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4335"/>
              </a:lnTo>
              <a:lnTo>
                <a:pt x="92664" y="332433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94D9E8-C2A3-4765-9477-D710CC646957}">
      <dsp:nvSpPr>
        <dsp:cNvPr id="0" name=""/>
        <dsp:cNvSpPr/>
      </dsp:nvSpPr>
      <dsp:spPr>
        <a:xfrm>
          <a:off x="2224532" y="1477523"/>
          <a:ext cx="92664" cy="27147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4735"/>
              </a:lnTo>
              <a:lnTo>
                <a:pt x="92664" y="271473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D3FE4-1739-4B3C-ACD2-597D18FBC50F}">
      <dsp:nvSpPr>
        <dsp:cNvPr id="0" name=""/>
        <dsp:cNvSpPr/>
      </dsp:nvSpPr>
      <dsp:spPr>
        <a:xfrm>
          <a:off x="2224532" y="1477523"/>
          <a:ext cx="92664" cy="20428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42838"/>
              </a:lnTo>
              <a:lnTo>
                <a:pt x="92664" y="204283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10A4AF-D8A8-4F2D-9661-56E5DBB5B2C5}">
      <dsp:nvSpPr>
        <dsp:cNvPr id="0" name=""/>
        <dsp:cNvSpPr/>
      </dsp:nvSpPr>
      <dsp:spPr>
        <a:xfrm>
          <a:off x="2224532" y="1477523"/>
          <a:ext cx="92664" cy="1351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1734"/>
              </a:lnTo>
              <a:lnTo>
                <a:pt x="92664" y="135173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2224532" y="1477523"/>
          <a:ext cx="92664" cy="7515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1561"/>
              </a:lnTo>
              <a:lnTo>
                <a:pt x="92664" y="75156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2588278" y="313207"/>
          <a:ext cx="1067667" cy="709634"/>
        </a:xfrm>
        <a:custGeom>
          <a:avLst/>
          <a:gdLst/>
          <a:ahLst/>
          <a:cxnLst/>
          <a:rect l="0" t="0" r="0" b="0"/>
          <a:pathLst>
            <a:path>
              <a:moveTo>
                <a:pt x="1067667" y="0"/>
              </a:moveTo>
              <a:lnTo>
                <a:pt x="1067667" y="614151"/>
              </a:lnTo>
              <a:lnTo>
                <a:pt x="0" y="614151"/>
              </a:lnTo>
              <a:lnTo>
                <a:pt x="0" y="709634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62AD45-37CE-4E4E-81E1-98A75BFFED33}">
      <dsp:nvSpPr>
        <dsp:cNvPr id="0" name=""/>
        <dsp:cNvSpPr/>
      </dsp:nvSpPr>
      <dsp:spPr>
        <a:xfrm>
          <a:off x="248377" y="1403842"/>
          <a:ext cx="158938" cy="32862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86272"/>
              </a:lnTo>
              <a:lnTo>
                <a:pt x="158938" y="328627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248377" y="1403842"/>
          <a:ext cx="294360" cy="24505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50503"/>
              </a:lnTo>
              <a:lnTo>
                <a:pt x="294360" y="245050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248377" y="1403842"/>
          <a:ext cx="313293" cy="1699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9231"/>
              </a:lnTo>
              <a:lnTo>
                <a:pt x="313293" y="16992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248377" y="1403842"/>
          <a:ext cx="294360" cy="9957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95763"/>
              </a:lnTo>
              <a:lnTo>
                <a:pt x="294360" y="99576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612123" y="313207"/>
          <a:ext cx="3043822" cy="677393"/>
        </a:xfrm>
        <a:custGeom>
          <a:avLst/>
          <a:gdLst/>
          <a:ahLst/>
          <a:cxnLst/>
          <a:rect l="0" t="0" r="0" b="0"/>
          <a:pathLst>
            <a:path>
              <a:moveTo>
                <a:pt x="3043822" y="0"/>
              </a:moveTo>
              <a:lnTo>
                <a:pt x="3043822" y="581910"/>
              </a:lnTo>
              <a:lnTo>
                <a:pt x="0" y="581910"/>
              </a:lnTo>
              <a:lnTo>
                <a:pt x="0" y="67739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2667004" y="0"/>
          <a:ext cx="1977882" cy="31320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Security</a:t>
          </a:r>
          <a:endParaRPr lang="en-US" sz="2000" kern="1200" dirty="0"/>
        </a:p>
      </dsp:txBody>
      <dsp:txXfrm>
        <a:off x="2667004" y="0"/>
        <a:ext cx="1977882" cy="313207"/>
      </dsp:txXfrm>
    </dsp:sp>
    <dsp:sp modelId="{5E5C4910-D5C2-4117-9825-0F4E2308A1D4}">
      <dsp:nvSpPr>
        <dsp:cNvPr id="0" name=""/>
        <dsp:cNvSpPr/>
      </dsp:nvSpPr>
      <dsp:spPr>
        <a:xfrm>
          <a:off x="157441" y="990600"/>
          <a:ext cx="909363" cy="41324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Detect</a:t>
          </a:r>
          <a:endParaRPr lang="en-US" sz="1800" kern="1200" dirty="0"/>
        </a:p>
      </dsp:txBody>
      <dsp:txXfrm>
        <a:off x="157441" y="990600"/>
        <a:ext cx="909363" cy="413241"/>
      </dsp:txXfrm>
    </dsp:sp>
    <dsp:sp modelId="{1064D61A-5C37-497D-A6F5-6312AB6E3F5A}">
      <dsp:nvSpPr>
        <dsp:cNvPr id="0" name=""/>
        <dsp:cNvSpPr/>
      </dsp:nvSpPr>
      <dsp:spPr>
        <a:xfrm>
          <a:off x="542738" y="2127336"/>
          <a:ext cx="1209862" cy="54454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trusion detection</a:t>
          </a:r>
          <a:endParaRPr lang="en-US" sz="1600" kern="1200" dirty="0"/>
        </a:p>
      </dsp:txBody>
      <dsp:txXfrm>
        <a:off x="542738" y="2127336"/>
        <a:ext cx="1209862" cy="544540"/>
      </dsp:txXfrm>
    </dsp:sp>
    <dsp:sp modelId="{A77E27D0-EFD7-495B-9E1A-5A5371B8AB84}">
      <dsp:nvSpPr>
        <dsp:cNvPr id="0" name=""/>
        <dsp:cNvSpPr/>
      </dsp:nvSpPr>
      <dsp:spPr>
        <a:xfrm>
          <a:off x="561671" y="2832320"/>
          <a:ext cx="1190929" cy="54150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tect service denial</a:t>
          </a:r>
          <a:endParaRPr lang="en-US" sz="1600" kern="1200" dirty="0"/>
        </a:p>
      </dsp:txBody>
      <dsp:txXfrm>
        <a:off x="561671" y="2832320"/>
        <a:ext cx="1190929" cy="541507"/>
      </dsp:txXfrm>
    </dsp:sp>
    <dsp:sp modelId="{984A4F3B-0A00-4E5A-9092-1922B8A7FAB3}">
      <dsp:nvSpPr>
        <dsp:cNvPr id="0" name=""/>
        <dsp:cNvSpPr/>
      </dsp:nvSpPr>
      <dsp:spPr>
        <a:xfrm>
          <a:off x="542738" y="3507231"/>
          <a:ext cx="1209862" cy="69423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Verify message integrity</a:t>
          </a:r>
          <a:endParaRPr lang="en-US" sz="1600" kern="1200" dirty="0"/>
        </a:p>
      </dsp:txBody>
      <dsp:txXfrm>
        <a:off x="542738" y="3507231"/>
        <a:ext cx="1209862" cy="694230"/>
      </dsp:txXfrm>
    </dsp:sp>
    <dsp:sp modelId="{E8D3E92A-0794-4DFF-ADF5-83A9F9869BDA}">
      <dsp:nvSpPr>
        <dsp:cNvPr id="0" name=""/>
        <dsp:cNvSpPr/>
      </dsp:nvSpPr>
      <dsp:spPr>
        <a:xfrm>
          <a:off x="407316" y="4409205"/>
          <a:ext cx="1345284" cy="561818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tect message delay</a:t>
          </a:r>
          <a:endParaRPr lang="en-US" sz="1600" kern="1200" dirty="0"/>
        </a:p>
      </dsp:txBody>
      <dsp:txXfrm>
        <a:off x="407316" y="4409205"/>
        <a:ext cx="1345284" cy="561818"/>
      </dsp:txXfrm>
    </dsp:sp>
    <dsp:sp modelId="{F0ED6141-24DB-4164-A2D4-B51E750525CD}">
      <dsp:nvSpPr>
        <dsp:cNvPr id="0" name=""/>
        <dsp:cNvSpPr/>
      </dsp:nvSpPr>
      <dsp:spPr>
        <a:xfrm>
          <a:off x="2133596" y="1022842"/>
          <a:ext cx="909363" cy="45468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sist/ Prevent</a:t>
          </a:r>
          <a:endParaRPr lang="en-US" sz="1800" kern="1200" dirty="0"/>
        </a:p>
      </dsp:txBody>
      <dsp:txXfrm>
        <a:off x="2133596" y="1022842"/>
        <a:ext cx="909363" cy="454681"/>
      </dsp:txXfrm>
    </dsp:sp>
    <dsp:sp modelId="{CBCDE87F-FA6C-44B8-A9C2-1E747BE7F736}">
      <dsp:nvSpPr>
        <dsp:cNvPr id="0" name=""/>
        <dsp:cNvSpPr/>
      </dsp:nvSpPr>
      <dsp:spPr>
        <a:xfrm>
          <a:off x="2317197" y="2001744"/>
          <a:ext cx="1188874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dentify actors</a:t>
          </a:r>
          <a:endParaRPr lang="en-US" sz="1600" kern="1200" dirty="0"/>
        </a:p>
      </dsp:txBody>
      <dsp:txXfrm>
        <a:off x="2317197" y="2001744"/>
        <a:ext cx="1188874" cy="454681"/>
      </dsp:txXfrm>
    </dsp:sp>
    <dsp:sp modelId="{5D0F02D1-4A23-4B53-AF4F-3529BE69829E}">
      <dsp:nvSpPr>
        <dsp:cNvPr id="0" name=""/>
        <dsp:cNvSpPr/>
      </dsp:nvSpPr>
      <dsp:spPr>
        <a:xfrm>
          <a:off x="2317197" y="2528229"/>
          <a:ext cx="1573789" cy="60205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uthenticate and authorize actors</a:t>
          </a:r>
          <a:endParaRPr lang="en-US" sz="1600" kern="1200" dirty="0"/>
        </a:p>
      </dsp:txBody>
      <dsp:txXfrm>
        <a:off x="2317197" y="2528229"/>
        <a:ext cx="1573789" cy="602057"/>
      </dsp:txXfrm>
    </dsp:sp>
    <dsp:sp modelId="{7BABB840-5689-4566-85C9-55C4A127C4C6}">
      <dsp:nvSpPr>
        <dsp:cNvPr id="0" name=""/>
        <dsp:cNvSpPr/>
      </dsp:nvSpPr>
      <dsp:spPr>
        <a:xfrm>
          <a:off x="2317197" y="3293021"/>
          <a:ext cx="1379312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imit access and exposure</a:t>
          </a:r>
          <a:endParaRPr lang="en-US" sz="1600" kern="1200" dirty="0"/>
        </a:p>
      </dsp:txBody>
      <dsp:txXfrm>
        <a:off x="2317197" y="3293021"/>
        <a:ext cx="1379312" cy="454681"/>
      </dsp:txXfrm>
    </dsp:sp>
    <dsp:sp modelId="{50D60845-A14B-4DD0-8DB4-8B07FEB31A21}">
      <dsp:nvSpPr>
        <dsp:cNvPr id="0" name=""/>
        <dsp:cNvSpPr/>
      </dsp:nvSpPr>
      <dsp:spPr>
        <a:xfrm>
          <a:off x="2317197" y="3964918"/>
          <a:ext cx="1488818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intain data confidentiality</a:t>
          </a:r>
          <a:endParaRPr lang="en-US" sz="1600" kern="1200" dirty="0"/>
        </a:p>
      </dsp:txBody>
      <dsp:txXfrm>
        <a:off x="2317197" y="3964918"/>
        <a:ext cx="1488818" cy="454681"/>
      </dsp:txXfrm>
    </dsp:sp>
    <dsp:sp modelId="{BD1C35E1-9751-4DD4-B9AF-1CFE8C8B4E70}">
      <dsp:nvSpPr>
        <dsp:cNvPr id="0" name=""/>
        <dsp:cNvSpPr/>
      </dsp:nvSpPr>
      <dsp:spPr>
        <a:xfrm>
          <a:off x="2317197" y="4574518"/>
          <a:ext cx="1645201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hange default setting</a:t>
          </a:r>
          <a:endParaRPr lang="en-US" sz="1600" kern="1200" dirty="0"/>
        </a:p>
      </dsp:txBody>
      <dsp:txXfrm>
        <a:off x="2317197" y="4574518"/>
        <a:ext cx="1645201" cy="454681"/>
      </dsp:txXfrm>
    </dsp:sp>
    <dsp:sp modelId="{A5F2589C-C16C-45F2-9A3D-F2A6CB2476D1}">
      <dsp:nvSpPr>
        <dsp:cNvPr id="0" name=""/>
        <dsp:cNvSpPr/>
      </dsp:nvSpPr>
      <dsp:spPr>
        <a:xfrm>
          <a:off x="4202470" y="1047172"/>
          <a:ext cx="1060026" cy="45468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act</a:t>
          </a:r>
          <a:endParaRPr lang="en-US" sz="1800" kern="1200" dirty="0"/>
        </a:p>
      </dsp:txBody>
      <dsp:txXfrm>
        <a:off x="4202470" y="1047172"/>
        <a:ext cx="1060026" cy="454681"/>
      </dsp:txXfrm>
    </dsp:sp>
    <dsp:sp modelId="{6E033C69-6BA8-4812-AE4E-0022A986E944}">
      <dsp:nvSpPr>
        <dsp:cNvPr id="0" name=""/>
        <dsp:cNvSpPr/>
      </dsp:nvSpPr>
      <dsp:spPr>
        <a:xfrm>
          <a:off x="4588004" y="2082059"/>
          <a:ext cx="909363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voke access</a:t>
          </a:r>
          <a:endParaRPr lang="en-US" sz="1600" kern="1200" dirty="0"/>
        </a:p>
      </dsp:txBody>
      <dsp:txXfrm>
        <a:off x="4588004" y="2082059"/>
        <a:ext cx="909363" cy="454681"/>
      </dsp:txXfrm>
    </dsp:sp>
    <dsp:sp modelId="{428A54D9-43F6-47B6-B3A2-FDCE09CB5A97}">
      <dsp:nvSpPr>
        <dsp:cNvPr id="0" name=""/>
        <dsp:cNvSpPr/>
      </dsp:nvSpPr>
      <dsp:spPr>
        <a:xfrm>
          <a:off x="4588004" y="2727706"/>
          <a:ext cx="909363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ock system</a:t>
          </a:r>
          <a:endParaRPr lang="en-US" sz="1600" kern="1200" dirty="0"/>
        </a:p>
      </dsp:txBody>
      <dsp:txXfrm>
        <a:off x="4588004" y="2727706"/>
        <a:ext cx="909363" cy="454681"/>
      </dsp:txXfrm>
    </dsp:sp>
    <dsp:sp modelId="{93507A0E-B606-4F7A-9C01-283769128FF2}">
      <dsp:nvSpPr>
        <dsp:cNvPr id="0" name=""/>
        <dsp:cNvSpPr/>
      </dsp:nvSpPr>
      <dsp:spPr>
        <a:xfrm>
          <a:off x="4588004" y="3373354"/>
          <a:ext cx="909363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lert actors</a:t>
          </a:r>
          <a:endParaRPr lang="en-US" sz="1600" kern="1200" dirty="0"/>
        </a:p>
      </dsp:txBody>
      <dsp:txXfrm>
        <a:off x="4588004" y="3373354"/>
        <a:ext cx="909363" cy="454681"/>
      </dsp:txXfrm>
    </dsp:sp>
    <dsp:sp modelId="{67A44139-B3F0-4118-89E8-A44A0D503C36}">
      <dsp:nvSpPr>
        <dsp:cNvPr id="0" name=""/>
        <dsp:cNvSpPr/>
      </dsp:nvSpPr>
      <dsp:spPr>
        <a:xfrm>
          <a:off x="6346316" y="1025361"/>
          <a:ext cx="909363" cy="45468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cover</a:t>
          </a:r>
          <a:endParaRPr lang="en-US" sz="1800" kern="1200" dirty="0"/>
        </a:p>
      </dsp:txBody>
      <dsp:txXfrm>
        <a:off x="6346316" y="1025361"/>
        <a:ext cx="909363" cy="454681"/>
      </dsp:txXfrm>
    </dsp:sp>
    <dsp:sp modelId="{1B4F947A-69EB-46FF-A1EA-7664283D213E}">
      <dsp:nvSpPr>
        <dsp:cNvPr id="0" name=""/>
        <dsp:cNvSpPr/>
      </dsp:nvSpPr>
      <dsp:spPr>
        <a:xfrm>
          <a:off x="6862999" y="2205673"/>
          <a:ext cx="1519000" cy="63175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u="none" kern="1200" dirty="0" smtClean="0"/>
            <a:t>Maintain Audit trail</a:t>
          </a:r>
          <a:endParaRPr lang="en-US" sz="1600" b="0" u="none" kern="1200" dirty="0"/>
        </a:p>
      </dsp:txBody>
      <dsp:txXfrm>
        <a:off x="6862999" y="2205673"/>
        <a:ext cx="1519000" cy="631752"/>
      </dsp:txXfrm>
    </dsp:sp>
    <dsp:sp modelId="{78B1DB83-1FBB-4B72-AADA-6CBB1DAEF356}">
      <dsp:nvSpPr>
        <dsp:cNvPr id="0" name=""/>
        <dsp:cNvSpPr/>
      </dsp:nvSpPr>
      <dsp:spPr>
        <a:xfrm>
          <a:off x="6096000" y="3144745"/>
          <a:ext cx="1661088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store</a:t>
          </a:r>
          <a:endParaRPr lang="en-US" sz="1600" kern="1200" dirty="0"/>
        </a:p>
      </dsp:txBody>
      <dsp:txXfrm>
        <a:off x="6096000" y="3144745"/>
        <a:ext cx="1661088" cy="454681"/>
      </dsp:txXfrm>
    </dsp:sp>
    <dsp:sp modelId="{43C79B55-7800-4403-B3B4-49E5363FFF1E}">
      <dsp:nvSpPr>
        <dsp:cNvPr id="0" name=""/>
        <dsp:cNvSpPr/>
      </dsp:nvSpPr>
      <dsp:spPr>
        <a:xfrm>
          <a:off x="6423492" y="4087122"/>
          <a:ext cx="1626386" cy="454681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Use availability tactics</a:t>
          </a:r>
          <a:endParaRPr lang="en-US" sz="1600" kern="1200" dirty="0"/>
        </a:p>
      </dsp:txBody>
      <dsp:txXfrm>
        <a:off x="6423492" y="4087122"/>
        <a:ext cx="1626386" cy="45468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E82B1A-B1F2-4CC5-9B64-B60015CBF624}">
      <dsp:nvSpPr>
        <dsp:cNvPr id="0" name=""/>
        <dsp:cNvSpPr/>
      </dsp:nvSpPr>
      <dsp:spPr>
        <a:xfrm>
          <a:off x="6286879" y="1297253"/>
          <a:ext cx="477964" cy="14951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95183"/>
              </a:lnTo>
              <a:lnTo>
                <a:pt x="477964" y="149518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6286879" y="1297253"/>
          <a:ext cx="477964" cy="8357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35727"/>
              </a:lnTo>
              <a:lnTo>
                <a:pt x="477964" y="835727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3902974" y="449059"/>
          <a:ext cx="2923789" cy="3999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767"/>
              </a:lnTo>
              <a:lnTo>
                <a:pt x="2923789" y="305767"/>
              </a:lnTo>
              <a:lnTo>
                <a:pt x="2923789" y="399907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3093336" y="1390873"/>
          <a:ext cx="232530" cy="10231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23198"/>
              </a:lnTo>
              <a:lnTo>
                <a:pt x="232530" y="102319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3589285" y="449059"/>
          <a:ext cx="313689" cy="461125"/>
        </a:xfrm>
        <a:custGeom>
          <a:avLst/>
          <a:gdLst/>
          <a:ahLst/>
          <a:cxnLst/>
          <a:rect l="0" t="0" r="0" b="0"/>
          <a:pathLst>
            <a:path>
              <a:moveTo>
                <a:pt x="313689" y="0"/>
              </a:moveTo>
              <a:lnTo>
                <a:pt x="313689" y="366985"/>
              </a:lnTo>
              <a:lnTo>
                <a:pt x="0" y="366985"/>
              </a:lnTo>
              <a:lnTo>
                <a:pt x="0" y="46112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0C0E8E-9146-4FF8-9E81-E2F73D38D307}">
      <dsp:nvSpPr>
        <dsp:cNvPr id="0" name=""/>
        <dsp:cNvSpPr/>
      </dsp:nvSpPr>
      <dsp:spPr>
        <a:xfrm>
          <a:off x="174127" y="1381791"/>
          <a:ext cx="217892" cy="3574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74892"/>
              </a:lnTo>
              <a:lnTo>
                <a:pt x="217892" y="357489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D99682-343B-4485-A14B-DE65F037093C}">
      <dsp:nvSpPr>
        <dsp:cNvPr id="0" name=""/>
        <dsp:cNvSpPr/>
      </dsp:nvSpPr>
      <dsp:spPr>
        <a:xfrm>
          <a:off x="174127" y="1381791"/>
          <a:ext cx="217892" cy="29383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38325"/>
              </a:lnTo>
              <a:lnTo>
                <a:pt x="217892" y="293832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62AD45-37CE-4E4E-81E1-98A75BFFED33}">
      <dsp:nvSpPr>
        <dsp:cNvPr id="0" name=""/>
        <dsp:cNvSpPr/>
      </dsp:nvSpPr>
      <dsp:spPr>
        <a:xfrm>
          <a:off x="174127" y="1381791"/>
          <a:ext cx="217892" cy="23017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1758"/>
              </a:lnTo>
              <a:lnTo>
                <a:pt x="217892" y="230175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174127" y="1381791"/>
          <a:ext cx="217892" cy="1665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65191"/>
              </a:lnTo>
              <a:lnTo>
                <a:pt x="217892" y="166519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174127" y="1381791"/>
          <a:ext cx="217892" cy="10286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28624"/>
              </a:lnTo>
              <a:lnTo>
                <a:pt x="217892" y="102862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174127" y="1381791"/>
          <a:ext cx="217892" cy="3920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2058"/>
              </a:lnTo>
              <a:lnTo>
                <a:pt x="217892" y="39205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870635" y="449059"/>
          <a:ext cx="3032339" cy="208646"/>
        </a:xfrm>
        <a:custGeom>
          <a:avLst/>
          <a:gdLst/>
          <a:ahLst/>
          <a:cxnLst/>
          <a:rect l="0" t="0" r="0" b="0"/>
          <a:pathLst>
            <a:path>
              <a:moveTo>
                <a:pt x="3032339" y="0"/>
              </a:moveTo>
              <a:lnTo>
                <a:pt x="3032339" y="114505"/>
              </a:lnTo>
              <a:lnTo>
                <a:pt x="0" y="114505"/>
              </a:lnTo>
              <a:lnTo>
                <a:pt x="0" y="208646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3310147" y="772"/>
          <a:ext cx="1185655" cy="44828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estability</a:t>
          </a:r>
          <a:endParaRPr lang="en-US" sz="1800" kern="1200" dirty="0"/>
        </a:p>
      </dsp:txBody>
      <dsp:txXfrm>
        <a:off x="3310147" y="772"/>
        <a:ext cx="1185655" cy="448286"/>
      </dsp:txXfrm>
    </dsp:sp>
    <dsp:sp modelId="{5E5C4910-D5C2-4117-9825-0F4E2308A1D4}">
      <dsp:nvSpPr>
        <dsp:cNvPr id="0" name=""/>
        <dsp:cNvSpPr/>
      </dsp:nvSpPr>
      <dsp:spPr>
        <a:xfrm>
          <a:off x="0" y="657705"/>
          <a:ext cx="1741270" cy="72408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nage controllability and </a:t>
          </a:r>
          <a:r>
            <a:rPr lang="en-US" sz="1600" kern="1200" dirty="0" err="1" smtClean="0"/>
            <a:t>Observability</a:t>
          </a:r>
          <a:endParaRPr lang="en-US" sz="1600" kern="1200" dirty="0"/>
        </a:p>
      </dsp:txBody>
      <dsp:txXfrm>
        <a:off x="0" y="657705"/>
        <a:ext cx="1741270" cy="724085"/>
      </dsp:txXfrm>
    </dsp:sp>
    <dsp:sp modelId="{1064D61A-5C37-497D-A6F5-6312AB6E3F5A}">
      <dsp:nvSpPr>
        <dsp:cNvPr id="0" name=""/>
        <dsp:cNvSpPr/>
      </dsp:nvSpPr>
      <dsp:spPr>
        <a:xfrm>
          <a:off x="392019" y="1549705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cord and playback</a:t>
          </a:r>
          <a:endParaRPr lang="en-US" sz="1600" kern="1200" dirty="0"/>
        </a:p>
      </dsp:txBody>
      <dsp:txXfrm>
        <a:off x="392019" y="1549705"/>
        <a:ext cx="2114074" cy="448286"/>
      </dsp:txXfrm>
    </dsp:sp>
    <dsp:sp modelId="{A77E27D0-EFD7-495B-9E1A-5A5371B8AB84}">
      <dsp:nvSpPr>
        <dsp:cNvPr id="0" name=""/>
        <dsp:cNvSpPr/>
      </dsp:nvSpPr>
      <dsp:spPr>
        <a:xfrm>
          <a:off x="392019" y="2186272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pecialized Interface</a:t>
          </a:r>
          <a:endParaRPr lang="en-US" sz="1600" kern="1200" dirty="0"/>
        </a:p>
      </dsp:txBody>
      <dsp:txXfrm>
        <a:off x="392019" y="2186272"/>
        <a:ext cx="2114074" cy="448286"/>
      </dsp:txXfrm>
    </dsp:sp>
    <dsp:sp modelId="{984A4F3B-0A00-4E5A-9092-1922B8A7FAB3}">
      <dsp:nvSpPr>
        <dsp:cNvPr id="0" name=""/>
        <dsp:cNvSpPr/>
      </dsp:nvSpPr>
      <dsp:spPr>
        <a:xfrm>
          <a:off x="392019" y="2822839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eparate interface and implementation</a:t>
          </a:r>
          <a:endParaRPr lang="en-US" sz="1600" kern="1200" dirty="0"/>
        </a:p>
      </dsp:txBody>
      <dsp:txXfrm>
        <a:off x="392019" y="2822839"/>
        <a:ext cx="2114074" cy="448286"/>
      </dsp:txXfrm>
    </dsp:sp>
    <dsp:sp modelId="{E8D3E92A-0794-4DFF-ADF5-83A9F9869BDA}">
      <dsp:nvSpPr>
        <dsp:cNvPr id="0" name=""/>
        <dsp:cNvSpPr/>
      </dsp:nvSpPr>
      <dsp:spPr>
        <a:xfrm>
          <a:off x="392019" y="3459406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xecutable assertion</a:t>
          </a:r>
          <a:endParaRPr lang="en-US" sz="1600" kern="1200" dirty="0"/>
        </a:p>
      </dsp:txBody>
      <dsp:txXfrm>
        <a:off x="392019" y="3459406"/>
        <a:ext cx="2114074" cy="448286"/>
      </dsp:txXfrm>
    </dsp:sp>
    <dsp:sp modelId="{A3E484CC-77C3-47AE-B304-C3AADDD9ACD2}">
      <dsp:nvSpPr>
        <dsp:cNvPr id="0" name=""/>
        <dsp:cNvSpPr/>
      </dsp:nvSpPr>
      <dsp:spPr>
        <a:xfrm>
          <a:off x="392019" y="4095973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ocalize data store</a:t>
          </a:r>
          <a:endParaRPr lang="en-US" sz="1600" kern="1200" dirty="0"/>
        </a:p>
      </dsp:txBody>
      <dsp:txXfrm>
        <a:off x="392019" y="4095973"/>
        <a:ext cx="2114074" cy="448286"/>
      </dsp:txXfrm>
    </dsp:sp>
    <dsp:sp modelId="{BFAB0065-46B4-4707-8B1B-5AD5D852CD73}">
      <dsp:nvSpPr>
        <dsp:cNvPr id="0" name=""/>
        <dsp:cNvSpPr/>
      </dsp:nvSpPr>
      <dsp:spPr>
        <a:xfrm>
          <a:off x="392019" y="4732540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andbox</a:t>
          </a:r>
          <a:endParaRPr lang="en-US" sz="1600" kern="1200" dirty="0"/>
        </a:p>
      </dsp:txBody>
      <dsp:txXfrm>
        <a:off x="392019" y="4732540"/>
        <a:ext cx="2114074" cy="448286"/>
      </dsp:txXfrm>
    </dsp:sp>
    <dsp:sp modelId="{F0ED6141-24DB-4164-A2D4-B51E750525CD}">
      <dsp:nvSpPr>
        <dsp:cNvPr id="0" name=""/>
        <dsp:cNvSpPr/>
      </dsp:nvSpPr>
      <dsp:spPr>
        <a:xfrm>
          <a:off x="2969349" y="910184"/>
          <a:ext cx="1239871" cy="48068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ternal Monitoring</a:t>
          </a:r>
          <a:endParaRPr lang="en-US" sz="1600" kern="1200" dirty="0"/>
        </a:p>
      </dsp:txBody>
      <dsp:txXfrm>
        <a:off x="2969349" y="910184"/>
        <a:ext cx="1239871" cy="480688"/>
      </dsp:txXfrm>
    </dsp:sp>
    <dsp:sp modelId="{CBCDE87F-FA6C-44B8-A9C2-1E747BE7F736}">
      <dsp:nvSpPr>
        <dsp:cNvPr id="0" name=""/>
        <dsp:cNvSpPr/>
      </dsp:nvSpPr>
      <dsp:spPr>
        <a:xfrm>
          <a:off x="3325867" y="2052060"/>
          <a:ext cx="2008135" cy="724023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troduce built-in monitor in the system</a:t>
          </a:r>
          <a:endParaRPr lang="en-US" sz="1600" kern="1200" dirty="0"/>
        </a:p>
      </dsp:txBody>
      <dsp:txXfrm>
        <a:off x="3325867" y="2052060"/>
        <a:ext cx="2008135" cy="724023"/>
      </dsp:txXfrm>
    </dsp:sp>
    <dsp:sp modelId="{A5F2589C-C16C-45F2-9A3D-F2A6CB2476D1}">
      <dsp:nvSpPr>
        <dsp:cNvPr id="0" name=""/>
        <dsp:cNvSpPr/>
      </dsp:nvSpPr>
      <dsp:spPr>
        <a:xfrm>
          <a:off x="6151908" y="848966"/>
          <a:ext cx="1349710" cy="44828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nage Complexity</a:t>
          </a:r>
          <a:endParaRPr lang="en-US" sz="1600" kern="1200" dirty="0"/>
        </a:p>
      </dsp:txBody>
      <dsp:txXfrm>
        <a:off x="6151908" y="848966"/>
        <a:ext cx="1349710" cy="448286"/>
      </dsp:txXfrm>
    </dsp:sp>
    <dsp:sp modelId="{6E033C69-6BA8-4812-AE4E-0022A986E944}">
      <dsp:nvSpPr>
        <dsp:cNvPr id="0" name=""/>
        <dsp:cNvSpPr/>
      </dsp:nvSpPr>
      <dsp:spPr>
        <a:xfrm>
          <a:off x="6764844" y="1908837"/>
          <a:ext cx="1588333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imit Structural complexity</a:t>
          </a:r>
          <a:endParaRPr lang="en-US" sz="1600" kern="1200" dirty="0"/>
        </a:p>
      </dsp:txBody>
      <dsp:txXfrm>
        <a:off x="6764844" y="1908837"/>
        <a:ext cx="1588333" cy="448286"/>
      </dsp:txXfrm>
    </dsp:sp>
    <dsp:sp modelId="{428A54D9-43F6-47B6-B3A2-FDCE09CB5A97}">
      <dsp:nvSpPr>
        <dsp:cNvPr id="0" name=""/>
        <dsp:cNvSpPr/>
      </dsp:nvSpPr>
      <dsp:spPr>
        <a:xfrm>
          <a:off x="6764844" y="2568293"/>
          <a:ext cx="1588333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imit non-determinism</a:t>
          </a:r>
          <a:endParaRPr lang="en-US" sz="1600" kern="1200" dirty="0"/>
        </a:p>
      </dsp:txBody>
      <dsp:txXfrm>
        <a:off x="6764844" y="2568293"/>
        <a:ext cx="1588333" cy="4482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/2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7574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757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5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4F724D-0587-459F-80C6-ACE2A0F5DCA5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17989F-96F8-4C2A-A28D-94FCCC1940DA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F10C15-23EC-46C7-9524-4C66D075A074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032E01-4605-43DE-8129-F995C1DEBCA8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C06C02-BCC5-4A57-BC46-5D7727BB0BB3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11779-2D67-471C-9D95-BAB168EA2A5D}" type="datetime1">
              <a:rPr lang="en-US" smtClean="0"/>
              <a:t>1/27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C0A3B0-6CFD-479E-9059-45686EAA74E3}" type="datetime1">
              <a:rPr lang="en-US" smtClean="0"/>
              <a:t>1/27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ABF2EF-6CA8-4AF8-B29C-E9AEB937B93E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6454D-1367-437C-AA78-A7B95DE4A7F6}" type="datetime1">
              <a:rPr lang="en-US" smtClean="0"/>
              <a:t>1/27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29A701-612E-4460-A741-54FD35FA20A7}" type="datetime1">
              <a:rPr lang="en-US" smtClean="0"/>
              <a:t>1/27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D3938D-3E5E-431C-9A8D-F7083632C994}" type="datetime1">
              <a:rPr lang="en-US" smtClean="0"/>
              <a:t>1/27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84B85C3-2DF3-4152-A050-1FA9CFF3C691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4</a:t>
            </a:r>
            <a:r>
              <a:rPr lang="en-GB" sz="3200" dirty="0"/>
              <a:t>: System Quality- </a:t>
            </a:r>
            <a:r>
              <a:rPr lang="en-GB" sz="3200" dirty="0" smtClean="0"/>
              <a:t>Security, Testability</a:t>
            </a:r>
            <a:r>
              <a:rPr lang="en-GB" sz="3200" smtClean="0"/>
              <a:t>, Interoperability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January 27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act to Att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evoke Access: limit access to </a:t>
            </a:r>
            <a:r>
              <a:rPr lang="en-US" dirty="0"/>
              <a:t>sensitive resources, even for normally legitimate users and </a:t>
            </a:r>
            <a:r>
              <a:rPr lang="en-US" dirty="0" smtClean="0"/>
              <a:t>uses, if an attack is suspected. </a:t>
            </a:r>
          </a:p>
          <a:p>
            <a:pPr lvl="0"/>
            <a:r>
              <a:rPr lang="en-US" dirty="0" smtClean="0"/>
              <a:t>Lock Computer: </a:t>
            </a:r>
            <a:r>
              <a:rPr lang="en-US" dirty="0"/>
              <a:t>limit access </a:t>
            </a:r>
            <a:r>
              <a:rPr lang="en-US" dirty="0" smtClean="0"/>
              <a:t>to a resource if </a:t>
            </a:r>
            <a:r>
              <a:rPr lang="en-US" dirty="0"/>
              <a:t>there are repeated failed attempts to access </a:t>
            </a:r>
            <a:r>
              <a:rPr lang="en-US" dirty="0" smtClean="0"/>
              <a:t>it.</a:t>
            </a:r>
          </a:p>
          <a:p>
            <a:pPr lvl="0"/>
            <a:r>
              <a:rPr lang="en-US" dirty="0" smtClean="0"/>
              <a:t>Inform Actors: notify operators</a:t>
            </a:r>
            <a:r>
              <a:rPr lang="en-US" dirty="0"/>
              <a:t>, other personnel, or cooperating </a:t>
            </a:r>
            <a:r>
              <a:rPr lang="en-US" dirty="0" smtClean="0"/>
              <a:t>systems when an attack is suspected or detected.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6D27E5B-2950-4F2A-B557-4578B384DF08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591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cover From Att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In addition to the Availability tactics for recovery of failed resources there is Audit.</a:t>
            </a:r>
          </a:p>
          <a:p>
            <a:pPr lvl="0"/>
            <a:r>
              <a:rPr lang="en-US" dirty="0" smtClean="0"/>
              <a:t>Audit: </a:t>
            </a:r>
            <a:r>
              <a:rPr lang="en-US" dirty="0"/>
              <a:t>keep a record of user and system actions and their effects, to help trace the actions of, and to identify, an attacker</a:t>
            </a:r>
            <a:r>
              <a:rPr lang="en-US" dirty="0" smtClean="0"/>
              <a:t>.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A34102E-43DE-4D30-AB50-156F5794ED89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70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Design Checklist- Allocation of Responsibilit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US" dirty="0" smtClean="0"/>
              <a:t>Identify the services that needs to be secured</a:t>
            </a:r>
          </a:p>
          <a:p>
            <a:pPr lvl="1"/>
            <a:r>
              <a:rPr lang="en-US" dirty="0" smtClean="0"/>
              <a:t>Identify the modules, subsystems offering these services</a:t>
            </a:r>
          </a:p>
          <a:p>
            <a:r>
              <a:rPr lang="en-US" dirty="0" smtClean="0"/>
              <a:t>For each such service</a:t>
            </a:r>
          </a:p>
          <a:p>
            <a:pPr lvl="1"/>
            <a:r>
              <a:rPr lang="en-US" dirty="0" smtClean="0"/>
              <a:t>Identify actors which can access this service, and implement authentication and level of authorization for those</a:t>
            </a:r>
          </a:p>
          <a:p>
            <a:pPr lvl="1"/>
            <a:r>
              <a:rPr lang="en-US" dirty="0"/>
              <a:t>verify checksums and hash values</a:t>
            </a:r>
            <a:endParaRPr lang="en-US" dirty="0" smtClean="0"/>
          </a:p>
          <a:p>
            <a:pPr lvl="1"/>
            <a:r>
              <a:rPr lang="en-US" dirty="0" smtClean="0"/>
              <a:t>Allow/deny data associated with this service for these actors</a:t>
            </a:r>
            <a:endParaRPr lang="en-US" dirty="0"/>
          </a:p>
          <a:p>
            <a:pPr lvl="1"/>
            <a:r>
              <a:rPr lang="en-US" dirty="0" smtClean="0"/>
              <a:t>record </a:t>
            </a:r>
            <a:r>
              <a:rPr lang="en-US" dirty="0"/>
              <a:t>attempts to access or modify data or services</a:t>
            </a:r>
          </a:p>
          <a:p>
            <a:pPr lvl="1"/>
            <a:r>
              <a:rPr lang="en-US" dirty="0" smtClean="0"/>
              <a:t>Encrypt data that are sensitive</a:t>
            </a:r>
            <a:endParaRPr lang="en-US" dirty="0"/>
          </a:p>
          <a:p>
            <a:pPr lvl="1"/>
            <a:r>
              <a:rPr lang="en-US" dirty="0" smtClean="0"/>
              <a:t>Implement a mechanism to recognize </a:t>
            </a:r>
            <a:r>
              <a:rPr lang="en-US" dirty="0"/>
              <a:t>reduced availability for </a:t>
            </a:r>
            <a:r>
              <a:rPr lang="en-US" dirty="0" smtClean="0"/>
              <a:t>this services </a:t>
            </a:r>
          </a:p>
          <a:p>
            <a:pPr lvl="1"/>
            <a:r>
              <a:rPr lang="en-US" dirty="0" smtClean="0"/>
              <a:t>Implement notification and alert mechanism</a:t>
            </a:r>
            <a:endParaRPr lang="en-US" dirty="0"/>
          </a:p>
          <a:p>
            <a:pPr lvl="1"/>
            <a:r>
              <a:rPr lang="en-US" dirty="0" smtClean="0"/>
              <a:t>Implement recover </a:t>
            </a:r>
            <a:r>
              <a:rPr lang="en-US" dirty="0"/>
              <a:t>from an </a:t>
            </a:r>
            <a:r>
              <a:rPr lang="en-US" dirty="0" smtClean="0"/>
              <a:t>attack mechanism</a:t>
            </a:r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D5CA9A3-1D2F-4666-A65F-FE384A878821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54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>
            <a:normAutofit/>
          </a:bodyPr>
          <a:lstStyle/>
          <a:p>
            <a:r>
              <a:rPr lang="en-US" dirty="0" smtClean="0"/>
              <a:t>Design Checklist- Manage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en-US" dirty="0"/>
              <a:t>Determine the sensitivity of different data </a:t>
            </a:r>
            <a:r>
              <a:rPr lang="en-US" dirty="0" smtClean="0"/>
              <a:t>fields</a:t>
            </a:r>
            <a:endParaRPr lang="en-US" dirty="0"/>
          </a:p>
          <a:p>
            <a:pPr lvl="0"/>
            <a:r>
              <a:rPr lang="en-US" dirty="0"/>
              <a:t>Ensure that data of different sensitivity is </a:t>
            </a:r>
            <a:r>
              <a:rPr lang="en-US" dirty="0" smtClean="0"/>
              <a:t>separated</a:t>
            </a:r>
            <a:endParaRPr lang="en-US" dirty="0"/>
          </a:p>
          <a:p>
            <a:pPr lvl="0"/>
            <a:r>
              <a:rPr lang="en-US" dirty="0"/>
              <a:t>Ensure that data of different sensitivity has different access rights and that access rights are checked prior to access.</a:t>
            </a:r>
          </a:p>
          <a:p>
            <a:pPr lvl="0"/>
            <a:r>
              <a:rPr lang="en-US" dirty="0"/>
              <a:t>Ensure that access to sensitive data is logged and that the log file is suitably protected.</a:t>
            </a:r>
          </a:p>
          <a:p>
            <a:pPr lvl="0"/>
            <a:r>
              <a:rPr lang="en-US" dirty="0"/>
              <a:t>Ensure that data is suitably encrypted and that keys are separated from the encrypted data.</a:t>
            </a:r>
          </a:p>
          <a:p>
            <a:pPr lvl="0"/>
            <a:r>
              <a:rPr lang="en-US" dirty="0"/>
              <a:t>Ensure that data can be restored if it is inappropriately modified.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0CC7073-5B24-462B-B613-AAF5B7201413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457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Design Checklist- Manage Coordi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For inter-system communication (applied for people also)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Ensure that mechanisms </a:t>
            </a:r>
            <a:r>
              <a:rPr lang="en-US" dirty="0"/>
              <a:t>for authenticating and authorizing the actor or system, and encrypting data for transmission across the connection are in place. 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Monitor communication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Monitor anomalous communication such as</a:t>
            </a:r>
          </a:p>
          <a:p>
            <a:pPr marL="800100" lvl="2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unexpectedly </a:t>
            </a:r>
            <a:r>
              <a:rPr lang="en-US" dirty="0"/>
              <a:t>high demands for resources or services </a:t>
            </a:r>
            <a:endParaRPr lang="en-US" dirty="0" smtClean="0"/>
          </a:p>
          <a:p>
            <a:pPr marL="800100" lvl="2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Unusual access pattern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Mechanisms </a:t>
            </a:r>
            <a:r>
              <a:rPr lang="en-US" dirty="0"/>
              <a:t>for restricting or terminating the connection.</a:t>
            </a:r>
            <a:endParaRPr lang="en-US" dirty="0">
              <a:latin typeface="Times"/>
              <a:ea typeface="Times New Roman"/>
              <a:cs typeface="Times New Roman"/>
            </a:endParaRP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F03D958-11ED-4DA3-9CFE-1D95551F1BBE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9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>
            <a:normAutofit/>
          </a:bodyPr>
          <a:lstStyle/>
          <a:p>
            <a:r>
              <a:rPr lang="en-US" dirty="0" smtClean="0"/>
              <a:t>Design Checklist- Manage Resour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Define appropriate grant or denial of resources </a:t>
            </a:r>
          </a:p>
          <a:p>
            <a:pPr marL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Record access attempts to resources</a:t>
            </a:r>
          </a:p>
          <a:p>
            <a:pPr marL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crypt data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Monitor resource utilization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Log   </a:t>
            </a:r>
            <a:endParaRPr lang="en-US" dirty="0"/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Identify suddenly high demand to a particular resource- for instance high CPU utilization at an </a:t>
            </a:r>
            <a:r>
              <a:rPr lang="en-US" dirty="0" smtClean="0"/>
              <a:t>unusual </a:t>
            </a:r>
            <a:r>
              <a:rPr lang="en-US" dirty="0"/>
              <a:t>time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a contaminated element can be prevented from contaminating other elements.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shared resources are not used for passing sensitive data from an actor with access rights to that data to an actor without access rights.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.</a:t>
            </a:r>
            <a:endParaRPr lang="en-US" dirty="0" smtClean="0">
              <a:latin typeface="Times"/>
              <a:ea typeface="Times New Roman"/>
              <a:cs typeface="Times New Roman"/>
            </a:endParaRPr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6E0687-2C57-44D6-9726-2301AB12BC39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805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dirty="0" smtClean="0"/>
              <a:t>Design checklist-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Runtime binding of components can be untrusted. Determine the following</a:t>
            </a:r>
            <a:endParaRPr lang="en-US" dirty="0"/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Based on situation implement certificate based authentication for a component</a:t>
            </a:r>
          </a:p>
          <a:p>
            <a:pPr marL="800100" lvl="2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Implement certification management, validation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Define access rules for components that are dynamically bound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Implement audit trail for whenever a late bound component tries to access records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System </a:t>
            </a:r>
            <a:r>
              <a:rPr lang="en-US" dirty="0"/>
              <a:t>data </a:t>
            </a:r>
            <a:r>
              <a:rPr lang="en-US" dirty="0" smtClean="0"/>
              <a:t>should be </a:t>
            </a:r>
            <a:r>
              <a:rPr lang="en-US" dirty="0"/>
              <a:t>encrypted where the keys are intentionally withheld for late bound components</a:t>
            </a:r>
            <a:endParaRPr lang="en-US" dirty="0">
              <a:latin typeface="Times"/>
              <a:ea typeface="Times New Roman"/>
              <a:cs typeface="Times New Roman"/>
            </a:endParaRP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endParaRPr lang="en-US" dirty="0">
              <a:solidFill>
                <a:srgbClr val="000080"/>
              </a:solidFill>
              <a:latin typeface="Times"/>
              <a:ea typeface="Times New Roman"/>
              <a:cs typeface="Times New Roman"/>
            </a:endParaRP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E017C36-73DF-429D-9753-E720AEC92FD2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042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smtClean="0"/>
              <a:t>Design </a:t>
            </a:r>
            <a:r>
              <a:rPr lang="en-US" dirty="0" smtClean="0"/>
              <a:t>Checklist- Technology choi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 smtClean="0"/>
              <a:t>Choice of technology is often governed by the organization mandate (enterprise architecture)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endParaRPr lang="en-US" sz="2400" dirty="0" smtClean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400" dirty="0" smtClean="0"/>
              <a:t>Decide tactics first. Based on the tactics, ensure </a:t>
            </a:r>
            <a:r>
              <a:rPr lang="en-US" sz="2400" dirty="0"/>
              <a:t>that your chosen technologies support the </a:t>
            </a:r>
            <a:r>
              <a:rPr lang="en-US" sz="2400" dirty="0" smtClean="0"/>
              <a:t>tactics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endParaRPr lang="en-US" sz="2400" dirty="0" smtClean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400" dirty="0" smtClean="0"/>
              <a:t>Determine </a:t>
            </a:r>
            <a:r>
              <a:rPr lang="en-US" sz="2400" dirty="0"/>
              <a:t>what </a:t>
            </a:r>
            <a:r>
              <a:rPr lang="en-US" sz="2400" dirty="0" smtClean="0"/>
              <a:t>technology </a:t>
            </a:r>
            <a:r>
              <a:rPr lang="en-US" sz="2400" dirty="0"/>
              <a:t>are available to help user authentication, data access rights, resource protection, data </a:t>
            </a:r>
            <a:r>
              <a:rPr lang="en-US" sz="2400" dirty="0" smtClean="0"/>
              <a:t>encryption</a:t>
            </a:r>
            <a:endParaRPr lang="en-US" sz="2400" dirty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400" dirty="0"/>
              <a:t>Identify technology and tools for monitoring and alert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endParaRPr lang="en-US" sz="2400" dirty="0">
              <a:latin typeface="Times"/>
              <a:ea typeface="Times New Roman"/>
              <a:cs typeface="Times New Roman"/>
            </a:endParaRPr>
          </a:p>
          <a:p>
            <a:pPr marL="25400" marR="0" indent="0">
              <a:lnSpc>
                <a:spcPct val="80000"/>
              </a:lnSpc>
              <a:spcBef>
                <a:spcPts val="500"/>
              </a:spcBef>
              <a:spcAft>
                <a:spcPts val="300"/>
              </a:spcAft>
              <a:buNone/>
              <a:tabLst>
                <a:tab pos="274320" algn="l"/>
              </a:tabLst>
            </a:pP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A84062F-BF14-404E-81E5-8620B0C38E49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9601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What is Testability</a:t>
            </a:r>
            <a:endParaRPr lang="en-IN" altLang="en-US" dirty="0" smtClean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 smtClean="0"/>
              <a:t>The ease with which software can be made to demonstrate its faults through testing</a:t>
            </a:r>
          </a:p>
          <a:p>
            <a:pPr eaLnBrk="1" hangingPunct="1"/>
            <a:r>
              <a:rPr lang="en-US" sz="2800" dirty="0"/>
              <a:t>If a fault is present in a system, then we want it to fail during testing as quickly as possible</a:t>
            </a:r>
            <a:r>
              <a:rPr lang="en-US" sz="2800" dirty="0" smtClean="0"/>
              <a:t>.</a:t>
            </a:r>
            <a:endParaRPr lang="en-US" altLang="en-US" sz="2800" dirty="0" smtClean="0"/>
          </a:p>
          <a:p>
            <a:pPr eaLnBrk="1" hangingPunct="1"/>
            <a:r>
              <a:rPr lang="en-US" altLang="en-US" sz="2800" dirty="0" smtClean="0"/>
              <a:t>At least 40% effort goes for testing</a:t>
            </a:r>
          </a:p>
          <a:p>
            <a:pPr lvl="1" eaLnBrk="1" hangingPunct="1"/>
            <a:r>
              <a:rPr lang="en-US" altLang="en-US" sz="2400" dirty="0"/>
              <a:t>Done by developers, testers, and verifiers (tools</a:t>
            </a:r>
            <a:r>
              <a:rPr lang="en-US" altLang="en-US" sz="2400" dirty="0" smtClean="0"/>
              <a:t>)</a:t>
            </a:r>
          </a:p>
          <a:p>
            <a:pPr eaLnBrk="1" hangingPunct="1"/>
            <a:r>
              <a:rPr lang="en-US" altLang="en-US" sz="2800" dirty="0" smtClean="0"/>
              <a:t>Specialized software for testing</a:t>
            </a:r>
          </a:p>
          <a:p>
            <a:pPr lvl="1" eaLnBrk="1" hangingPunct="1"/>
            <a:r>
              <a:rPr lang="en-US" altLang="en-US" sz="2400" dirty="0" smtClean="0"/>
              <a:t>Test harness</a:t>
            </a:r>
          </a:p>
          <a:p>
            <a:pPr lvl="1" eaLnBrk="1" hangingPunct="1"/>
            <a:r>
              <a:rPr lang="en-US" altLang="en-US" sz="2400" dirty="0" smtClean="0"/>
              <a:t>Simple playback capability </a:t>
            </a:r>
          </a:p>
          <a:p>
            <a:pPr lvl="1" eaLnBrk="1" hangingPunct="1"/>
            <a:r>
              <a:rPr lang="en-US" altLang="en-US" sz="2400" dirty="0" smtClean="0"/>
              <a:t>Specialized testing chamber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8947D0A-72E2-4588-8B2C-6D73A47553BC}" type="datetime1">
              <a:rPr lang="en-US" smtClean="0"/>
              <a:t>1/2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079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able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040560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n-US" dirty="0" err="1"/>
              <a:t>Dijkstra’s</a:t>
            </a:r>
            <a:r>
              <a:rPr lang="en-US" dirty="0"/>
              <a:t> Thesis</a:t>
            </a:r>
          </a:p>
          <a:p>
            <a:pPr algn="ctr"/>
            <a:r>
              <a:rPr lang="en-US" dirty="0"/>
              <a:t>Test can’t guarantee the absence of errors, but it can only show their presence.</a:t>
            </a:r>
          </a:p>
          <a:p>
            <a:pPr eaLnBrk="1" hangingPunct="1"/>
            <a:r>
              <a:rPr lang="en-US" altLang="en-US" dirty="0"/>
              <a:t>Fault discovery is a probability </a:t>
            </a:r>
          </a:p>
          <a:p>
            <a:pPr lvl="1" eaLnBrk="1" hangingPunct="1"/>
            <a:r>
              <a:rPr lang="en-US" altLang="en-US" dirty="0"/>
              <a:t>That the next test execution will fail and exhibit the </a:t>
            </a:r>
            <a:r>
              <a:rPr lang="en-US" altLang="en-US" dirty="0" smtClean="0"/>
              <a:t>fault</a:t>
            </a:r>
          </a:p>
          <a:p>
            <a:pPr lvl="1" eaLnBrk="1" hangingPunct="1"/>
            <a:endParaRPr lang="en-US" altLang="en-US" dirty="0"/>
          </a:p>
          <a:p>
            <a:pPr eaLnBrk="1" hangingPunct="1"/>
            <a:r>
              <a:rPr lang="en-US" altLang="en-US" dirty="0"/>
              <a:t>A perfectly testable code – each component’s internal state must be controllable through inputs and output must be </a:t>
            </a:r>
            <a:r>
              <a:rPr lang="en-US" altLang="en-US" dirty="0" smtClean="0"/>
              <a:t>observable</a:t>
            </a:r>
          </a:p>
          <a:p>
            <a:pPr eaLnBrk="1" hangingPunct="1"/>
            <a:endParaRPr lang="en-US" dirty="0" smtClean="0"/>
          </a:p>
          <a:p>
            <a:pPr algn="ctr" eaLnBrk="1" hangingPunct="1"/>
            <a:r>
              <a:rPr lang="en-US" dirty="0" smtClean="0"/>
              <a:t>Error-free </a:t>
            </a:r>
            <a:r>
              <a:rPr lang="en-US" dirty="0"/>
              <a:t>software does not exist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F0DF1-7763-488B-9A39-347CA021FFA4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19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What is Security</a:t>
            </a:r>
            <a:endParaRPr lang="en-IN" altLang="en-US" dirty="0" smtClean="0"/>
          </a:p>
        </p:txBody>
      </p:sp>
      <p:sp>
        <p:nvSpPr>
          <p:cNvPr id="3277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hangingPunct="1">
              <a:buNone/>
            </a:pPr>
            <a:r>
              <a:rPr lang="en-US" altLang="en-US" sz="2800" dirty="0"/>
              <a:t>A</a:t>
            </a:r>
            <a:r>
              <a:rPr lang="en-US" altLang="en-US" sz="2800" dirty="0" smtClean="0"/>
              <a:t> measure of the system’s ability to resist unauthorized usage while still providing its services to legitimate users </a:t>
            </a:r>
          </a:p>
          <a:p>
            <a:pPr eaLnBrk="1" hangingPunct="1"/>
            <a:r>
              <a:rPr lang="en-US" sz="2400" dirty="0"/>
              <a:t>A</a:t>
            </a:r>
            <a:r>
              <a:rPr lang="x-none" sz="2400"/>
              <a:t>bility to </a:t>
            </a:r>
            <a:r>
              <a:rPr lang="en-US" sz="2400" dirty="0"/>
              <a:t>protect data and information from unauthorized </a:t>
            </a:r>
            <a:r>
              <a:rPr lang="en-US" sz="2400" dirty="0" smtClean="0"/>
              <a:t>access</a:t>
            </a:r>
            <a:endParaRPr lang="en-US" altLang="en-US" sz="2400" dirty="0" smtClean="0"/>
          </a:p>
          <a:p>
            <a:pPr eaLnBrk="1" hangingPunct="1"/>
            <a:r>
              <a:rPr lang="en-US" altLang="en-US" dirty="0" smtClean="0"/>
              <a:t>An attempt to breach this is an “Attack”</a:t>
            </a:r>
          </a:p>
          <a:p>
            <a:pPr lvl="1" eaLnBrk="1" hangingPunct="1"/>
            <a:r>
              <a:rPr lang="en-US" altLang="en-US" dirty="0" smtClean="0"/>
              <a:t>Unauthorized attempt to access, modify, delete data</a:t>
            </a:r>
          </a:p>
          <a:p>
            <a:pPr lvl="2" eaLnBrk="1" hangingPunct="1"/>
            <a:r>
              <a:rPr lang="en-US" altLang="en-US" dirty="0" smtClean="0"/>
              <a:t>Theft of money by e-transfer, modification records and files, reading and copying sensitive data like credit card number</a:t>
            </a:r>
          </a:p>
          <a:p>
            <a:pPr lvl="1" eaLnBrk="1" hangingPunct="1"/>
            <a:r>
              <a:rPr lang="en-US" altLang="en-US" dirty="0" smtClean="0"/>
              <a:t>Deny service to legitimate users</a:t>
            </a:r>
            <a:endParaRPr lang="en-US" alt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EF9CA91-5A82-45E7-9BC8-F34F6F5F1534}" type="datetime1">
              <a:rPr lang="en-US" smtClean="0"/>
              <a:t>1/2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423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2BF86ED-33B2-4F6D-B069-8577A7E748C8}" type="datetime1">
              <a:rPr lang="en-US" smtClean="0"/>
              <a:t>1/27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ability Scenari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52400" y="2133600"/>
            <a:ext cx="1524000" cy="28194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WHO</a:t>
            </a:r>
            <a:endParaRPr lang="en-US" sz="1400" u="sng" dirty="0" smtClean="0">
              <a:solidFill>
                <a:schemeClr val="tx1"/>
              </a:solidFill>
            </a:endParaRPr>
          </a:p>
          <a:p>
            <a:pPr algn="ctr"/>
            <a:endParaRPr lang="en-US" sz="1000" u="sng" dirty="0" smtClean="0">
              <a:solidFill>
                <a:schemeClr val="tx1"/>
              </a:solidFill>
            </a:endParaRP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/>
              <a:t>Unit tester (typically unit developers)</a:t>
            </a: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Integration tester</a:t>
            </a: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System tester or client acceptance team</a:t>
            </a: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System user</a:t>
            </a:r>
          </a:p>
        </p:txBody>
      </p:sp>
      <p:sp>
        <p:nvSpPr>
          <p:cNvPr id="8" name="Rectangle 7"/>
          <p:cNvSpPr/>
          <p:nvPr/>
        </p:nvSpPr>
        <p:spPr>
          <a:xfrm>
            <a:off x="1828800" y="2133600"/>
            <a:ext cx="1600200" cy="28194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   </a:t>
            </a:r>
            <a:r>
              <a:rPr lang="en-US" sz="1600" u="sng" dirty="0" smtClean="0">
                <a:solidFill>
                  <a:schemeClr val="tx1"/>
                </a:solidFill>
              </a:rPr>
              <a:t>STIMULUS</a:t>
            </a:r>
          </a:p>
          <a:p>
            <a:endParaRPr lang="en-US" sz="16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1600" b="1" dirty="0" smtClean="0"/>
              <a:t>Milestone in the development process is met</a:t>
            </a: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Completion of design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Completion of coding</a:t>
            </a: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Completion of integra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505200" y="1676400"/>
            <a:ext cx="1524000" cy="342495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rIns="0" anchor="b" anchorCtr="1"/>
          <a:lstStyle/>
          <a:p>
            <a:pPr algn="ctr">
              <a:defRPr/>
            </a:pPr>
            <a:r>
              <a:rPr lang="en-US" sz="1600" u="sng" dirty="0" smtClean="0"/>
              <a:t>IMPACTED PART</a:t>
            </a:r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buFont typeface="Arial" pitchFamily="34" charset="0"/>
              <a:buChar char="•"/>
              <a:defRPr/>
            </a:pPr>
            <a:endParaRPr lang="en-US" sz="1600" dirty="0" smtClean="0"/>
          </a:p>
          <a:p>
            <a:pPr>
              <a:buFont typeface="Arial" pitchFamily="34" charset="0"/>
              <a:buChar char="•"/>
              <a:defRPr/>
            </a:pPr>
            <a:endParaRPr lang="en-US" sz="1600" dirty="0"/>
          </a:p>
          <a:p>
            <a:pPr>
              <a:buFont typeface="Arial" pitchFamily="34" charset="0"/>
              <a:buChar char="•"/>
              <a:defRPr/>
            </a:pPr>
            <a:endParaRPr lang="en-US" sz="1600" dirty="0" smtClean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Design tim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Development tim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Compile tim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Integration time</a:t>
            </a:r>
            <a:endParaRPr lang="en-US" sz="1600" dirty="0"/>
          </a:p>
        </p:txBody>
      </p:sp>
      <p:sp>
        <p:nvSpPr>
          <p:cNvPr id="10" name="Rectangle 9"/>
          <p:cNvSpPr/>
          <p:nvPr/>
        </p:nvSpPr>
        <p:spPr>
          <a:xfrm>
            <a:off x="5181600" y="1447800"/>
            <a:ext cx="1864424" cy="366698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RESPONSE ACTION</a:t>
            </a:r>
          </a:p>
          <a:p>
            <a:pPr algn="ctr"/>
            <a:endParaRPr lang="en-US" sz="1600" u="sng" dirty="0">
              <a:solidFill>
                <a:schemeClr val="tx1"/>
              </a:solidFill>
            </a:endParaRP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Prepare test environment</a:t>
            </a: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ccess state values</a:t>
            </a: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ccess computed valu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162800" y="1447800"/>
            <a:ext cx="1828801" cy="366698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EASURABLE RESPONSE</a:t>
            </a:r>
          </a:p>
          <a:p>
            <a:pPr algn="ctr"/>
            <a:endParaRPr lang="en-US" sz="1400" u="sng" dirty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%executable statements executed (code coverage)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ime to test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ime to prepare test environment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Length of longest dependency chain in test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robability of failure if fault exist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586350" y="2375435"/>
            <a:ext cx="1344878" cy="1142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Component or whole system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3286" y="5807280"/>
            <a:ext cx="1403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 unit tester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676400" y="5681667"/>
            <a:ext cx="17526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erforms unit test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7168738" y="5453582"/>
            <a:ext cx="18288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overage of 85% is achieved in 2 hours</a:t>
            </a:r>
            <a:endParaRPr lang="en-US" sz="1600" dirty="0"/>
          </a:p>
        </p:txBody>
      </p:sp>
      <p:sp>
        <p:nvSpPr>
          <p:cNvPr id="17" name="TextBox 16"/>
          <p:cNvSpPr txBox="1"/>
          <p:nvPr/>
        </p:nvSpPr>
        <p:spPr>
          <a:xfrm>
            <a:off x="3495800" y="5284304"/>
            <a:ext cx="15259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omponent that has controllable interface</a:t>
            </a:r>
          </a:p>
          <a:p>
            <a:r>
              <a:rPr lang="en-US" sz="1400" dirty="0" smtClean="0"/>
              <a:t>After component is complete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5181600" y="5508831"/>
            <a:ext cx="18644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Observe the output for inputs provided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535369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 of Testability Tac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Using testability tactics </a:t>
            </a:r>
            <a:r>
              <a:rPr lang="en-US" dirty="0"/>
              <a:t>the architect </a:t>
            </a:r>
            <a:r>
              <a:rPr lang="en-US" dirty="0" smtClean="0"/>
              <a:t>should aim </a:t>
            </a:r>
            <a:r>
              <a:rPr lang="en-US" dirty="0"/>
              <a:t>to reduce the high cost of </a:t>
            </a:r>
            <a:r>
              <a:rPr lang="en-US" dirty="0" smtClean="0"/>
              <a:t>testing when the software is modified</a:t>
            </a:r>
          </a:p>
          <a:p>
            <a:r>
              <a:rPr lang="en-US" dirty="0" smtClean="0"/>
              <a:t>Two </a:t>
            </a:r>
            <a:r>
              <a:rPr lang="en-US" dirty="0"/>
              <a:t>categories of </a:t>
            </a:r>
            <a:r>
              <a:rPr lang="en-US" dirty="0" smtClean="0"/>
              <a:t>tactics</a:t>
            </a:r>
          </a:p>
          <a:p>
            <a:pPr lvl="1"/>
            <a:r>
              <a:rPr lang="en-US" dirty="0" smtClean="0"/>
              <a:t>Introducing </a:t>
            </a:r>
            <a:r>
              <a:rPr lang="en-US" dirty="0"/>
              <a:t>controllability and </a:t>
            </a:r>
            <a:r>
              <a:rPr lang="en-US" dirty="0" err="1"/>
              <a:t>observability</a:t>
            </a:r>
            <a:r>
              <a:rPr lang="en-US" dirty="0"/>
              <a:t> to the </a:t>
            </a:r>
            <a:r>
              <a:rPr lang="en-US" dirty="0" smtClean="0"/>
              <a:t>system during design  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second deals with limiting complexity in the system’s </a:t>
            </a:r>
            <a:r>
              <a:rPr lang="en-US" dirty="0" smtClean="0"/>
              <a:t>design 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87DDC7B-F85B-4F29-86AB-B14B66758CF4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3789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ability Tactic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D5E256-6982-4B48-AE6F-65148451585D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3906198"/>
              </p:ext>
            </p:extLst>
          </p:nvPr>
        </p:nvGraphicFramePr>
        <p:xfrm>
          <a:off x="304800" y="1262416"/>
          <a:ext cx="83820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5063946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ntrol and Observe System St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lvl="0"/>
            <a:r>
              <a:rPr lang="en-US" dirty="0" smtClean="0"/>
              <a:t>Specialized Interfaces for testing: </a:t>
            </a:r>
          </a:p>
          <a:p>
            <a:pPr lvl="1"/>
            <a:r>
              <a:rPr lang="en-US" dirty="0" smtClean="0"/>
              <a:t>to control </a:t>
            </a:r>
            <a:r>
              <a:rPr lang="en-US" dirty="0"/>
              <a:t>or capture variable values for a component either through a test harness or through normal </a:t>
            </a:r>
            <a:r>
              <a:rPr lang="en-US" dirty="0" smtClean="0"/>
              <a:t>execution.</a:t>
            </a:r>
          </a:p>
          <a:p>
            <a:pPr lvl="1"/>
            <a:r>
              <a:rPr lang="en-US" dirty="0" smtClean="0"/>
              <a:t>Use a special interface that a test harness can use</a:t>
            </a:r>
          </a:p>
          <a:p>
            <a:pPr lvl="1"/>
            <a:r>
              <a:rPr lang="en-US" dirty="0" smtClean="0"/>
              <a:t>Make use of some metadata through this special interface</a:t>
            </a:r>
          </a:p>
          <a:p>
            <a:pPr lvl="0"/>
            <a:r>
              <a:rPr lang="en-US" dirty="0" smtClean="0"/>
              <a:t>Record/Playback: </a:t>
            </a:r>
            <a:r>
              <a:rPr lang="en-US" dirty="0"/>
              <a:t>capturing information crossing an interface and using it as input for further </a:t>
            </a:r>
            <a:r>
              <a:rPr lang="en-US" dirty="0" smtClean="0"/>
              <a:t>testing.</a:t>
            </a:r>
          </a:p>
          <a:p>
            <a:pPr lvl="0"/>
            <a:r>
              <a:rPr lang="en-US" dirty="0" smtClean="0"/>
              <a:t>Localize State Storage: </a:t>
            </a:r>
            <a:r>
              <a:rPr lang="en-US" dirty="0"/>
              <a:t>To start a system, subsystem, or module in an arbitrary state for a test, it is most convenient if that state is stored in a single </a:t>
            </a:r>
            <a:r>
              <a:rPr lang="en-US" dirty="0" smtClean="0"/>
              <a:t>place.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3128776-9AC8-4C34-9B53-C675F95EF1E9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024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ntrol and Observe System St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en-US" dirty="0" smtClean="0"/>
              <a:t>Interface and implementation</a:t>
            </a:r>
          </a:p>
          <a:p>
            <a:pPr lvl="1"/>
            <a:r>
              <a:rPr lang="en-US" dirty="0" smtClean="0"/>
              <a:t>If they are separated, implementation can be replaced by a stub for testing rest of the system</a:t>
            </a:r>
          </a:p>
          <a:p>
            <a:pPr lvl="0"/>
            <a:r>
              <a:rPr lang="en-US" dirty="0" smtClean="0"/>
              <a:t>Sandbox: isolate the </a:t>
            </a:r>
            <a:r>
              <a:rPr lang="en-US" dirty="0"/>
              <a:t>system from the real world to enable experimentation that is unconstrained by the worry about having to undo the consequences of the </a:t>
            </a:r>
            <a:r>
              <a:rPr lang="en-US" dirty="0" smtClean="0"/>
              <a:t>experiment.</a:t>
            </a:r>
          </a:p>
          <a:p>
            <a:pPr lvl="0"/>
            <a:r>
              <a:rPr lang="en-US" dirty="0" smtClean="0"/>
              <a:t>Executable Assertions: </a:t>
            </a:r>
            <a:r>
              <a:rPr lang="en-US" dirty="0"/>
              <a:t>assertions are (usually) hand coded and placed at desired locations to indicate when and where a program is in a faulty </a:t>
            </a:r>
            <a:r>
              <a:rPr lang="en-US" dirty="0" smtClean="0"/>
              <a:t>state.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2B845B8-76C3-4AE9-AFB2-C457F9706A72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1379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anage Complex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US" dirty="0" smtClean="0"/>
              <a:t>Limit Structural Complexity: </a:t>
            </a:r>
          </a:p>
          <a:p>
            <a:pPr lvl="1"/>
            <a:r>
              <a:rPr lang="en-US" dirty="0" smtClean="0"/>
              <a:t>avoiding </a:t>
            </a:r>
            <a:r>
              <a:rPr lang="en-US" dirty="0"/>
              <a:t>or resolving cyclic dependencies between components, </a:t>
            </a:r>
            <a:endParaRPr lang="en-US" dirty="0" smtClean="0"/>
          </a:p>
          <a:p>
            <a:pPr lvl="1"/>
            <a:r>
              <a:rPr lang="en-US" dirty="0" smtClean="0"/>
              <a:t>isolating </a:t>
            </a:r>
            <a:r>
              <a:rPr lang="en-US" dirty="0"/>
              <a:t>and encapsulating dependencies on the external </a:t>
            </a:r>
            <a:r>
              <a:rPr lang="en-US" dirty="0" smtClean="0"/>
              <a:t>environment</a:t>
            </a:r>
          </a:p>
          <a:p>
            <a:pPr lvl="1"/>
            <a:r>
              <a:rPr lang="en-US" dirty="0" smtClean="0"/>
              <a:t>reducing </a:t>
            </a:r>
            <a:r>
              <a:rPr lang="en-US" dirty="0"/>
              <a:t>dependencies between components in </a:t>
            </a:r>
            <a:r>
              <a:rPr lang="en-US" dirty="0" smtClean="0"/>
              <a:t>general.</a:t>
            </a:r>
          </a:p>
          <a:p>
            <a:pPr lvl="0"/>
            <a:r>
              <a:rPr lang="en-US" dirty="0" smtClean="0"/>
              <a:t>Limit Non-determinism: </a:t>
            </a:r>
            <a:r>
              <a:rPr lang="en-US" dirty="0"/>
              <a:t>finding all the sources of non-determinism, such as unconstrained parallelism, and </a:t>
            </a:r>
            <a:r>
              <a:rPr lang="en-US" dirty="0" smtClean="0"/>
              <a:t>remove them </a:t>
            </a:r>
            <a:r>
              <a:rPr lang="en-US" dirty="0"/>
              <a:t>out as far as </a:t>
            </a:r>
            <a:r>
              <a:rPr lang="en-US" dirty="0" smtClean="0"/>
              <a:t>possibl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802F19-F76D-4B86-8446-83F3CBDAEDD7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6221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nal Monitor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mplement a built-in monitoring mechanism</a:t>
            </a:r>
          </a:p>
          <a:p>
            <a:pPr lvl="1"/>
            <a:r>
              <a:rPr lang="en-US" dirty="0" smtClean="0"/>
              <a:t>One should be able to turn on or off</a:t>
            </a:r>
          </a:p>
          <a:p>
            <a:pPr lvl="2"/>
            <a:r>
              <a:rPr lang="en-US" dirty="0" smtClean="0"/>
              <a:t>one example is logging</a:t>
            </a:r>
          </a:p>
          <a:p>
            <a:pPr lvl="1"/>
            <a:r>
              <a:rPr lang="en-US" dirty="0" smtClean="0"/>
              <a:t>Performed typically by instrumentation- AOP, Preprocessor macro. Instrument the code to introduce recorder at some point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3C123A7-8E00-4A4B-980C-270703ABE529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7993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Allocation of Responsi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indent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2800" dirty="0" smtClean="0"/>
              <a:t>Identify the services are </a:t>
            </a:r>
            <a:r>
              <a:rPr lang="en-US" sz="2800" dirty="0"/>
              <a:t>most critical and hence need to be most thoroughly tested</a:t>
            </a:r>
            <a:r>
              <a:rPr lang="en-US" sz="2800" dirty="0" smtClean="0"/>
              <a:t>.</a:t>
            </a:r>
          </a:p>
          <a:p>
            <a:pPr lvl="1"/>
            <a:r>
              <a:rPr lang="en-US" sz="2400" dirty="0"/>
              <a:t>Identify the modules, subsystems offering these services</a:t>
            </a:r>
          </a:p>
          <a:p>
            <a:r>
              <a:rPr lang="en-US" sz="2800" dirty="0"/>
              <a:t>For each such </a:t>
            </a:r>
            <a:r>
              <a:rPr lang="en-US" sz="2800" dirty="0" smtClean="0"/>
              <a:t>service</a:t>
            </a:r>
          </a:p>
          <a:p>
            <a:pPr lvl="1"/>
            <a:r>
              <a:rPr lang="en-US" sz="2400" dirty="0" smtClean="0"/>
              <a:t>Ensure that internal monitoring mechanism like logging is well designed</a:t>
            </a:r>
          </a:p>
          <a:p>
            <a:pPr lvl="1"/>
            <a:r>
              <a:rPr lang="en-US" sz="2400" dirty="0" smtClean="0"/>
              <a:t>Make sure that </a:t>
            </a:r>
            <a:r>
              <a:rPr lang="en-US" sz="2400" kern="1100" dirty="0" smtClean="0"/>
              <a:t>the </a:t>
            </a:r>
            <a:r>
              <a:rPr lang="en-US" sz="2400" kern="1100" dirty="0"/>
              <a:t>allocation of functionality </a:t>
            </a:r>
            <a:r>
              <a:rPr lang="en-US" sz="2400" kern="1100" dirty="0" smtClean="0"/>
              <a:t>provides </a:t>
            </a:r>
          </a:p>
          <a:p>
            <a:pPr lvl="2"/>
            <a:r>
              <a:rPr lang="en-US" sz="2000" kern="1100" dirty="0" smtClean="0"/>
              <a:t>low </a:t>
            </a:r>
            <a:r>
              <a:rPr lang="en-US" sz="2000" kern="1100" dirty="0"/>
              <a:t>coupling, </a:t>
            </a:r>
            <a:endParaRPr lang="en-US" sz="2000" kern="1100" dirty="0" smtClean="0"/>
          </a:p>
          <a:p>
            <a:pPr lvl="2"/>
            <a:r>
              <a:rPr lang="en-US" sz="2000" kern="1100" dirty="0" smtClean="0"/>
              <a:t>strong </a:t>
            </a:r>
            <a:r>
              <a:rPr lang="en-US" sz="2000" kern="1100" dirty="0"/>
              <a:t>separation of concerns, and </a:t>
            </a:r>
            <a:endParaRPr lang="en-US" sz="2000" kern="1100" dirty="0" smtClean="0"/>
          </a:p>
          <a:p>
            <a:pPr lvl="2"/>
            <a:r>
              <a:rPr lang="en-US" sz="2000" kern="1100" dirty="0" smtClean="0"/>
              <a:t>low </a:t>
            </a:r>
            <a:r>
              <a:rPr lang="en-US" sz="2000" kern="1100" dirty="0"/>
              <a:t>structural complexity.</a:t>
            </a:r>
            <a:endParaRPr lang="en-US" sz="2000" kern="1100" dirty="0">
              <a:latin typeface="Times New Roman"/>
              <a:ea typeface="Times New Roman"/>
            </a:endParaRPr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EDD1E2-1CBA-4533-B1A7-344137B19DCE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3144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Testing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800" dirty="0" smtClean="0"/>
              <a:t>Identify the data entities that are related to the critical services need </a:t>
            </a:r>
            <a:r>
              <a:rPr lang="en-US" sz="2800" dirty="0"/>
              <a:t>to be most thoroughly tested</a:t>
            </a:r>
            <a:r>
              <a:rPr lang="en-US" sz="2800" dirty="0" smtClean="0"/>
              <a:t>. </a:t>
            </a:r>
          </a:p>
          <a:p>
            <a:pPr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800" dirty="0" smtClean="0"/>
              <a:t>Ensure that </a:t>
            </a:r>
            <a:r>
              <a:rPr lang="en-US" sz="2800" kern="1100" dirty="0"/>
              <a:t>creation, initialization, persistence, manipulation, translation, and destruction of </a:t>
            </a:r>
            <a:r>
              <a:rPr lang="en-US" sz="2800" kern="1100" dirty="0" smtClean="0"/>
              <a:t>these data entities are possible--</a:t>
            </a:r>
            <a:endParaRPr lang="en-US" sz="2800" dirty="0" smtClean="0"/>
          </a:p>
          <a:p>
            <a:pPr lvl="1"/>
            <a:r>
              <a:rPr lang="en-US" sz="2400" dirty="0" smtClean="0"/>
              <a:t>State Snapshot: Ensure that the values of these data entities can be captured if required, while the system is in execution or at fault</a:t>
            </a:r>
          </a:p>
          <a:p>
            <a:pPr lvl="1"/>
            <a:r>
              <a:rPr lang="en-US" sz="2400" dirty="0" smtClean="0"/>
              <a:t>Replay: Ensure that the desired values of these data entities can be set (state injection) during testing so that it is possible to recreate the faulty behavio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FEBC50-C87B-40EE-82D2-2B67A2B2ED45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5704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Testing Infrastru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r>
              <a:rPr lang="en-US" kern="1100" dirty="0" smtClean="0"/>
              <a:t>Is it possible to inject faults into the communication channel and monitoring the state of the communication</a:t>
            </a:r>
          </a:p>
          <a:p>
            <a:pPr lvl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r>
              <a:rPr lang="en-US" kern="1100" dirty="0" smtClean="0"/>
              <a:t>Is it possible to execute test suites and capture results for a distributed set of systems?</a:t>
            </a:r>
          </a:p>
          <a:p>
            <a:pPr lvl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r>
              <a:rPr lang="en-US" kern="1100" dirty="0" smtClean="0"/>
              <a:t>Testing for potential race condition- check if it is possible to</a:t>
            </a:r>
            <a:r>
              <a:rPr lang="en-US" dirty="0"/>
              <a:t> </a:t>
            </a:r>
            <a:r>
              <a:rPr lang="en-US" dirty="0" smtClean="0"/>
              <a:t>explicitly </a:t>
            </a:r>
            <a:r>
              <a:rPr lang="en-US" dirty="0"/>
              <a:t>map </a:t>
            </a:r>
            <a:endParaRPr lang="en-US" kern="1100" dirty="0" smtClean="0"/>
          </a:p>
          <a:p>
            <a:pPr lvl="1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r>
              <a:rPr lang="en-US" dirty="0" smtClean="0"/>
              <a:t>processes </a:t>
            </a:r>
            <a:r>
              <a:rPr lang="en-US" dirty="0"/>
              <a:t>to </a:t>
            </a:r>
            <a:r>
              <a:rPr lang="en-US" dirty="0" smtClean="0"/>
              <a:t>processors</a:t>
            </a:r>
          </a:p>
          <a:p>
            <a:pPr lvl="1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r>
              <a:rPr lang="en-US" dirty="0" smtClean="0"/>
              <a:t>threads </a:t>
            </a:r>
            <a:r>
              <a:rPr lang="en-US" dirty="0"/>
              <a:t>to </a:t>
            </a:r>
            <a:r>
              <a:rPr lang="en-US" dirty="0" smtClean="0"/>
              <a:t>processes</a:t>
            </a:r>
          </a:p>
          <a:p>
            <a:pPr marL="457200" lvl="1" indent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None/>
              <a:tabLst>
                <a:tab pos="228600" algn="l"/>
                <a:tab pos="274320" algn="l"/>
              </a:tabLst>
            </a:pPr>
            <a:endParaRPr lang="en-US" dirty="0" smtClean="0"/>
          </a:p>
          <a:p>
            <a:pPr marL="57150" indent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None/>
              <a:tabLst>
                <a:tab pos="228600" algn="l"/>
                <a:tab pos="274320" algn="l"/>
              </a:tabLst>
            </a:pPr>
            <a:r>
              <a:rPr lang="en-US" dirty="0" smtClean="0"/>
              <a:t>So </a:t>
            </a:r>
            <a:r>
              <a:rPr lang="en-US" dirty="0"/>
              <a:t>that the desired test response is achieved and potential race conditions identified</a:t>
            </a:r>
            <a:endParaRPr lang="en-US" kern="1100" dirty="0" smtClean="0"/>
          </a:p>
          <a:p>
            <a:pPr lvl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C6FAFE2-17AE-4314-84C1-EEB4D21D1C3A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495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ortant aspects of Secur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1800" dirty="0"/>
              <a:t>Security comprises of</a:t>
            </a:r>
          </a:p>
          <a:p>
            <a:pPr lvl="1"/>
            <a:r>
              <a:rPr lang="en-US" altLang="en-US" sz="1600" dirty="0"/>
              <a:t>Confidentiality</a:t>
            </a:r>
          </a:p>
          <a:p>
            <a:pPr lvl="2"/>
            <a:r>
              <a:rPr lang="en-US" sz="1400" dirty="0"/>
              <a:t>prevention of the unauthorized disclosure of </a:t>
            </a:r>
            <a:r>
              <a:rPr lang="en-US" sz="1400" dirty="0" smtClean="0"/>
              <a:t>information. E.g</a:t>
            </a:r>
            <a:r>
              <a:rPr lang="en-US" sz="1400" dirty="0"/>
              <a:t>. </a:t>
            </a:r>
            <a:r>
              <a:rPr lang="en-US" sz="1400" dirty="0" smtClean="0"/>
              <a:t>Nobody except you should be able to access your </a:t>
            </a:r>
            <a:r>
              <a:rPr lang="en-US" sz="1400" dirty="0"/>
              <a:t>income tax returns on </a:t>
            </a:r>
            <a:r>
              <a:rPr lang="en-US" sz="1400" dirty="0" smtClean="0"/>
              <a:t>an online tax-filing site</a:t>
            </a:r>
            <a:endParaRPr lang="en-US" altLang="en-US" sz="1200" dirty="0" smtClean="0"/>
          </a:p>
          <a:p>
            <a:pPr lvl="1" eaLnBrk="1" hangingPunct="1"/>
            <a:r>
              <a:rPr lang="en-US" altLang="en-US" sz="1600" dirty="0" smtClean="0"/>
              <a:t>Integrity</a:t>
            </a:r>
          </a:p>
          <a:p>
            <a:pPr lvl="2"/>
            <a:r>
              <a:rPr lang="en-US" sz="1400" dirty="0" smtClean="0"/>
              <a:t>prevention </a:t>
            </a:r>
            <a:r>
              <a:rPr lang="en-US" sz="1400" dirty="0"/>
              <a:t>of the unauthorized modification or deletion of </a:t>
            </a:r>
            <a:r>
              <a:rPr lang="en-US" sz="1400" dirty="0" smtClean="0"/>
              <a:t>information. E.g</a:t>
            </a:r>
            <a:r>
              <a:rPr lang="en-US" sz="1400" dirty="0"/>
              <a:t>. your grade has not been changed since your instructor assigned it</a:t>
            </a:r>
            <a:endParaRPr lang="en-US" altLang="en-US" sz="1200" dirty="0"/>
          </a:p>
          <a:p>
            <a:pPr lvl="1" eaLnBrk="1" hangingPunct="1"/>
            <a:r>
              <a:rPr lang="en-US" altLang="en-US" sz="1600" dirty="0"/>
              <a:t>Availability</a:t>
            </a:r>
          </a:p>
          <a:p>
            <a:pPr lvl="2"/>
            <a:r>
              <a:rPr lang="en-US" sz="1400" dirty="0"/>
              <a:t>prevention of the unauthorized withholding of information – e.g. </a:t>
            </a:r>
            <a:r>
              <a:rPr lang="en-US" sz="1400" dirty="0" err="1"/>
              <a:t>DoS</a:t>
            </a:r>
            <a:r>
              <a:rPr lang="en-US" sz="1400" dirty="0"/>
              <a:t> </a:t>
            </a:r>
            <a:r>
              <a:rPr lang="en-US" sz="1400" dirty="0" smtClean="0"/>
              <a:t>attack should not prevent you from booking railway ticket</a:t>
            </a:r>
            <a:endParaRPr lang="en-US" sz="1400" dirty="0"/>
          </a:p>
          <a:p>
            <a:r>
              <a:rPr lang="en-US" altLang="en-US" sz="1800" dirty="0"/>
              <a:t>Important </a:t>
            </a:r>
            <a:r>
              <a:rPr lang="en-US" altLang="en-US" sz="1800" dirty="0" smtClean="0"/>
              <a:t>aspects of </a:t>
            </a:r>
            <a:r>
              <a:rPr lang="en-US" altLang="en-US" sz="1800" dirty="0"/>
              <a:t>Security</a:t>
            </a:r>
          </a:p>
          <a:p>
            <a:pPr lvl="1"/>
            <a:r>
              <a:rPr lang="en-US" altLang="en-US" sz="1400" dirty="0"/>
              <a:t>Non repudiation::  An activity (say a transaction) can’t be denied by any of the parties </a:t>
            </a:r>
            <a:r>
              <a:rPr lang="en-US" altLang="en-US" sz="1400" dirty="0" smtClean="0"/>
              <a:t>involved. E.g.</a:t>
            </a:r>
            <a:r>
              <a:rPr lang="x-none" sz="1400" smtClean="0"/>
              <a:t> </a:t>
            </a:r>
            <a:r>
              <a:rPr lang="x-none" sz="1400"/>
              <a:t>you cannot </a:t>
            </a:r>
            <a:r>
              <a:rPr lang="en-US" sz="1400" dirty="0"/>
              <a:t>deny </a:t>
            </a:r>
            <a:r>
              <a:rPr lang="x-none" sz="1400"/>
              <a:t>ordering something from the </a:t>
            </a:r>
            <a:r>
              <a:rPr lang="en-US" sz="1400" dirty="0"/>
              <a:t>I</a:t>
            </a:r>
            <a:r>
              <a:rPr lang="x-none" sz="1400"/>
              <a:t>nternet</a:t>
            </a:r>
            <a:r>
              <a:rPr lang="en-US" sz="1400" dirty="0"/>
              <a:t>, or </a:t>
            </a:r>
            <a:r>
              <a:rPr lang="x-none" sz="1400"/>
              <a:t>the merchant cannot </a:t>
            </a:r>
            <a:r>
              <a:rPr lang="en-US" sz="1400" dirty="0"/>
              <a:t>disclaim </a:t>
            </a:r>
            <a:r>
              <a:rPr lang="x-none" sz="1400"/>
              <a:t>getting your order</a:t>
            </a:r>
            <a:r>
              <a:rPr lang="x-none" sz="1400" smtClean="0"/>
              <a:t>.</a:t>
            </a:r>
            <a:endParaRPr lang="en-US" altLang="en-US" sz="1400" dirty="0"/>
          </a:p>
          <a:p>
            <a:pPr lvl="1"/>
            <a:r>
              <a:rPr lang="en-US" altLang="en-US" sz="1400" dirty="0"/>
              <a:t>Assurance:: Parties in an activities are assured to be who they purport to </a:t>
            </a:r>
            <a:r>
              <a:rPr lang="en-US" altLang="en-US" sz="1400" dirty="0" smtClean="0"/>
              <a:t>be. Typically done through authentication. E.g. if you get an email purporting to come from a bank, it is indeed from  a bank.</a:t>
            </a:r>
            <a:endParaRPr lang="en-US" altLang="en-US" sz="1400" dirty="0"/>
          </a:p>
          <a:p>
            <a:pPr lvl="1"/>
            <a:r>
              <a:rPr lang="en-US" altLang="en-US" sz="1400" dirty="0"/>
              <a:t>Auditing:: System tracks activities so that it can be reconstructed </a:t>
            </a:r>
            <a:r>
              <a:rPr lang="en-US" altLang="en-US" sz="1400" dirty="0" smtClean="0"/>
              <a:t>later</a:t>
            </a:r>
          </a:p>
          <a:p>
            <a:pPr lvl="1"/>
            <a:r>
              <a:rPr lang="x-none" sz="1400" smtClean="0"/>
              <a:t>Authorization </a:t>
            </a:r>
            <a:r>
              <a:rPr lang="en-US" sz="1400" dirty="0"/>
              <a:t>grants </a:t>
            </a:r>
            <a:r>
              <a:rPr lang="x-none" sz="1400"/>
              <a:t>a user the privileges to perform a task. For example, </a:t>
            </a:r>
            <a:r>
              <a:rPr lang="en-US" sz="1400" dirty="0"/>
              <a:t>an online banking system authorizes a legitimate user to access his account</a:t>
            </a:r>
            <a:r>
              <a:rPr lang="x-none" sz="1400"/>
              <a:t>.</a:t>
            </a:r>
            <a:endParaRPr lang="en-US" sz="1400" dirty="0"/>
          </a:p>
          <a:p>
            <a:pPr lvl="1"/>
            <a:endParaRPr lang="en-US" altLang="en-US" sz="1400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CD7C4ED-F2F9-469E-B0C7-E5FBD1EE9ACB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42507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Testing resource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components that are bound later than compile time can be tested in the late bound </a:t>
            </a:r>
            <a:r>
              <a:rPr lang="en-US" dirty="0" smtClean="0"/>
              <a:t>context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E.g. loading a driver on-demand</a:t>
            </a:r>
            <a:endParaRPr lang="en-US" dirty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late bindings can be captured in the event of a failure, so that you can re-create the system’s state leading to the failure.  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the full range of binding possibilities can be tested.</a:t>
            </a:r>
            <a:endParaRPr lang="en-US" dirty="0">
              <a:latin typeface="Times"/>
              <a:ea typeface="Times New Roman"/>
              <a:cs typeface="Times New Roman"/>
            </a:endParaRP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3B5D9F3-DC3A-40F0-B496-B2A7D8A85D48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5289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dirty="0" smtClean="0"/>
              <a:t>Design Checklist- Resource Manag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ere are sufficient resources available to execute a test suite and capture the </a:t>
            </a:r>
            <a:r>
              <a:rPr lang="en-US" dirty="0" smtClean="0"/>
              <a:t>results </a:t>
            </a:r>
            <a:endParaRPr lang="en-US" dirty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your test environment is representative of </a:t>
            </a:r>
            <a:r>
              <a:rPr lang="en-US" dirty="0" smtClean="0"/>
              <a:t> </a:t>
            </a:r>
            <a:r>
              <a:rPr lang="en-US" dirty="0"/>
              <a:t>the environment in which the system will </a:t>
            </a:r>
            <a:r>
              <a:rPr lang="en-US" dirty="0" smtClean="0"/>
              <a:t>run   </a:t>
            </a:r>
            <a:endParaRPr lang="en-US" dirty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the system provides the means </a:t>
            </a:r>
            <a:r>
              <a:rPr lang="en-US" dirty="0" smtClean="0"/>
              <a:t>to: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kern="1100" dirty="0" smtClean="0"/>
              <a:t>test </a:t>
            </a:r>
            <a:r>
              <a:rPr lang="en-US" kern="1100" dirty="0"/>
              <a:t>resource limits </a:t>
            </a:r>
            <a:endParaRPr lang="en-US" kern="1100" dirty="0" smtClean="0"/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kern="1100" dirty="0" smtClean="0"/>
              <a:t>capture </a:t>
            </a:r>
            <a:r>
              <a:rPr lang="en-US" kern="1100" dirty="0"/>
              <a:t>detailed resource usage for analysis in the event of a </a:t>
            </a:r>
            <a:r>
              <a:rPr lang="en-US" kern="1100" dirty="0" smtClean="0"/>
              <a:t>failure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kern="1100" dirty="0" smtClean="0"/>
              <a:t>inject </a:t>
            </a:r>
            <a:r>
              <a:rPr lang="en-US" kern="1100" dirty="0"/>
              <a:t>new resources limits into the system for the purposes of </a:t>
            </a:r>
            <a:r>
              <a:rPr lang="en-US" kern="1100" dirty="0" smtClean="0"/>
              <a:t>testing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kern="1100" dirty="0" smtClean="0"/>
              <a:t>provide </a:t>
            </a:r>
            <a:r>
              <a:rPr lang="en-US" kern="1100" dirty="0"/>
              <a:t>virtualized resources for testing</a:t>
            </a:r>
            <a:endParaRPr lang="en-US" kern="1100" dirty="0">
              <a:latin typeface="Times New Roman"/>
              <a:ea typeface="Times New Roman"/>
            </a:endParaRP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A89299A-533C-4C1B-9F76-02794679F5AE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4694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oice of Too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Determine what tools are available to help achieve the testability scenarios </a:t>
            </a:r>
            <a:endParaRPr lang="en-US" dirty="0" smtClean="0"/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Do </a:t>
            </a:r>
            <a:r>
              <a:rPr lang="en-US" dirty="0"/>
              <a:t>you have regression testing, fault injection, recording and playback supports from the testing tools?</a:t>
            </a:r>
          </a:p>
          <a:p>
            <a:pPr marL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Does </a:t>
            </a:r>
            <a:r>
              <a:rPr lang="en-US" dirty="0"/>
              <a:t>your choice of tools support the type of testing you intend to carry on?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You </a:t>
            </a:r>
            <a:r>
              <a:rPr lang="en-US" dirty="0"/>
              <a:t>may want a fault-injection but you need to have a tool that can support the level of fault-injection you want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Does </a:t>
            </a:r>
            <a:r>
              <a:rPr lang="en-US" dirty="0"/>
              <a:t>it support capturing and injecting  the data-state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E55DF4F-73D3-46D8-A775-10F42A643E0D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41552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oper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35120"/>
            <a:ext cx="8382000" cy="5029200"/>
          </a:xfrm>
        </p:spPr>
        <p:txBody>
          <a:bodyPr/>
          <a:lstStyle/>
          <a:p>
            <a:r>
              <a:rPr lang="en-US" dirty="0" smtClean="0"/>
              <a:t>Ability that two systems can usefully exchange information through an interface</a:t>
            </a:r>
          </a:p>
          <a:p>
            <a:r>
              <a:rPr lang="en-US" dirty="0" smtClean="0"/>
              <a:t>Ability to transfer data and interpret data</a:t>
            </a:r>
          </a:p>
          <a:p>
            <a:r>
              <a:rPr lang="en-US" dirty="0" smtClean="0"/>
              <a:t>Information exchange can be direct or indirect</a:t>
            </a:r>
          </a:p>
          <a:p>
            <a:r>
              <a:rPr lang="en-US" dirty="0" smtClean="0"/>
              <a:t>Interface</a:t>
            </a:r>
          </a:p>
          <a:p>
            <a:pPr lvl="1"/>
            <a:r>
              <a:rPr lang="en-US" dirty="0" smtClean="0"/>
              <a:t>Beyond API</a:t>
            </a:r>
          </a:p>
          <a:p>
            <a:pPr lvl="1"/>
            <a:r>
              <a:rPr lang="en-US" dirty="0" smtClean="0"/>
              <a:t>Need to have a set of assumptions you can safely make about the entity exposing the API</a:t>
            </a:r>
          </a:p>
          <a:p>
            <a:r>
              <a:rPr lang="en-US" dirty="0" smtClean="0"/>
              <a:t>Example- you want to integrate with Google Map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81C3E0D-F1A0-434C-8D7C-B94B8FEBE672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89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c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Interoperability</a:t>
            </a:r>
          </a:p>
          <a:p>
            <a:pPr lvl="1"/>
            <a:r>
              <a:rPr lang="en-US" sz="2400" dirty="0" smtClean="0"/>
              <a:t>Locate (Discover service)</a:t>
            </a:r>
          </a:p>
          <a:p>
            <a:pPr lvl="2"/>
            <a:r>
              <a:rPr lang="en-US" sz="2000" dirty="0" smtClean="0"/>
              <a:t>Identify the service through a known directory service. Here service implies a set of capabilities available through an interface</a:t>
            </a:r>
          </a:p>
          <a:p>
            <a:pPr lvl="2"/>
            <a:r>
              <a:rPr lang="en-US" sz="2000" dirty="0" smtClean="0"/>
              <a:t>By name, location or other attributes</a:t>
            </a:r>
          </a:p>
          <a:p>
            <a:pPr lvl="1"/>
            <a:r>
              <a:rPr lang="en-US" sz="2400" dirty="0" smtClean="0"/>
              <a:t>Manage interface</a:t>
            </a:r>
          </a:p>
          <a:p>
            <a:pPr lvl="2"/>
            <a:r>
              <a:rPr lang="en-US" sz="2000" dirty="0" smtClean="0"/>
              <a:t>Orchestrate</a:t>
            </a:r>
          </a:p>
          <a:p>
            <a:pPr lvl="3"/>
            <a:r>
              <a:rPr lang="en-US" sz="1800" dirty="0" smtClean="0"/>
              <a:t>Co-ordinate and manage a sequence of services. Example- workflow, which can be expressed in BPEL language</a:t>
            </a:r>
          </a:p>
          <a:p>
            <a:pPr lvl="2"/>
            <a:r>
              <a:rPr lang="en-US" sz="2000" dirty="0" smtClean="0"/>
              <a:t>Tailor interface</a:t>
            </a:r>
          </a:p>
          <a:p>
            <a:pPr lvl="3"/>
            <a:r>
              <a:rPr lang="en-US" sz="1800" dirty="0" smtClean="0"/>
              <a:t>Add or remove capability from an interface (hide a particular function from an untrusted user)</a:t>
            </a:r>
          </a:p>
          <a:p>
            <a:pPr lvl="3"/>
            <a:r>
              <a:rPr lang="en-US" sz="1800" dirty="0" smtClean="0"/>
              <a:t>Use Decorator pattern for this purpose</a:t>
            </a:r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1A5491-B97A-441B-A1B7-FA2B9A11653A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92673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35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551968E-834B-41A3-A514-C4771C9B4D2B}" type="datetime1">
              <a:rPr lang="en-US" smtClean="0"/>
              <a:t>1/2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92048" y="6528416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D19FC51-EAD2-410A-BD75-5CF7E4ABA158}" type="datetime1">
              <a:rPr lang="en-US" smtClean="0"/>
              <a:t>1/27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Scenario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52400" y="2133600"/>
            <a:ext cx="1524000" cy="28194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WHO</a:t>
            </a:r>
            <a:endParaRPr lang="en-US" sz="1400" u="sng" dirty="0" smtClean="0">
              <a:solidFill>
                <a:schemeClr val="tx1"/>
              </a:solidFill>
            </a:endParaRPr>
          </a:p>
          <a:p>
            <a:pPr algn="ctr"/>
            <a:endParaRPr lang="en-US" sz="1000" u="sng" dirty="0" smtClean="0">
              <a:solidFill>
                <a:schemeClr val="tx1"/>
              </a:solidFill>
            </a:endParaRP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/>
              <a:t>Individual or a system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 smtClean="0"/>
              <a:t>Correctly identified OR 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 smtClean="0"/>
              <a:t>Incorrectly identified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 smtClean="0"/>
              <a:t>OR unknown</a:t>
            </a:r>
            <a:endParaRPr lang="en-US" sz="1200" dirty="0"/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/>
              <a:t>Who is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/>
              <a:t>Internal or </a:t>
            </a:r>
            <a:r>
              <a:rPr lang="en-US" sz="1200" dirty="0" smtClean="0"/>
              <a:t>external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 smtClean="0"/>
              <a:t>Authorized or </a:t>
            </a:r>
            <a:r>
              <a:rPr lang="en-US" sz="1200" dirty="0" err="1" smtClean="0"/>
              <a:t>unauthrized</a:t>
            </a:r>
            <a:endParaRPr lang="en-US" sz="1200" dirty="0"/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Has access to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 smtClean="0"/>
              <a:t>Limited </a:t>
            </a:r>
            <a:r>
              <a:rPr lang="en-US" sz="1200" dirty="0"/>
              <a:t>resource</a:t>
            </a:r>
          </a:p>
          <a:p>
            <a:pPr marL="91440" lvl="1" indent="-91440">
              <a:buFont typeface="Wingdings" panose="05000000000000000000" pitchFamily="2" charset="2"/>
              <a:buChar char="ü"/>
              <a:defRPr/>
            </a:pPr>
            <a:r>
              <a:rPr lang="en-US" sz="1200" dirty="0"/>
              <a:t>Vast resource</a:t>
            </a:r>
            <a:endParaRPr lang="en-IN" sz="1200" dirty="0"/>
          </a:p>
        </p:txBody>
      </p:sp>
      <p:sp>
        <p:nvSpPr>
          <p:cNvPr id="8" name="Rectangle 7"/>
          <p:cNvSpPr/>
          <p:nvPr/>
        </p:nvSpPr>
        <p:spPr>
          <a:xfrm>
            <a:off x="1828800" y="2133600"/>
            <a:ext cx="1600200" cy="28194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   </a:t>
            </a:r>
            <a:r>
              <a:rPr lang="en-US" sz="1600" u="sng" dirty="0" smtClean="0">
                <a:solidFill>
                  <a:schemeClr val="tx1"/>
                </a:solidFill>
              </a:rPr>
              <a:t>STIMULUS</a:t>
            </a:r>
          </a:p>
          <a:p>
            <a:endParaRPr lang="en-US" sz="16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1600" b="1" dirty="0" smtClean="0"/>
              <a:t>Tries to</a:t>
            </a:r>
            <a:endParaRPr lang="en-US" sz="1600" b="1" dirty="0"/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Read data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Change/delete data</a:t>
            </a: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Access system services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Reduce availability of servic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505200" y="2133600"/>
            <a:ext cx="1219200" cy="307181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rIns="0" anchor="b" anchorCtr="1"/>
          <a:lstStyle/>
          <a:p>
            <a:pPr algn="ctr">
              <a:defRPr/>
            </a:pPr>
            <a:r>
              <a:rPr lang="en-US" sz="1600" u="sng" dirty="0" smtClean="0"/>
              <a:t>IMPACTED PART</a:t>
            </a:r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Online/offline</a:t>
            </a:r>
            <a:endParaRPr lang="en-US" sz="1600" dirty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Within firewall or Open</a:t>
            </a:r>
          </a:p>
        </p:txBody>
      </p:sp>
      <p:sp>
        <p:nvSpPr>
          <p:cNvPr id="10" name="Rectangle 9"/>
          <p:cNvSpPr/>
          <p:nvPr/>
        </p:nvSpPr>
        <p:spPr>
          <a:xfrm>
            <a:off x="4876799" y="1447800"/>
            <a:ext cx="2169225" cy="43317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ITIGATING ACTION</a:t>
            </a:r>
          </a:p>
          <a:p>
            <a:pPr algn="ctr"/>
            <a:endParaRPr lang="en-US" sz="1600" u="sng" dirty="0">
              <a:solidFill>
                <a:schemeClr val="tx1"/>
              </a:solidFill>
            </a:endParaRP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/>
                </a:solidFill>
              </a:rPr>
              <a:t>Authentication</a:t>
            </a: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Authenticates</a:t>
            </a: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Hides identity</a:t>
            </a: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/>
                </a:solidFill>
              </a:rPr>
              <a:t>Access control to data or services</a:t>
            </a: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/>
                </a:solidFill>
              </a:rPr>
              <a:t>Blocks </a:t>
            </a:r>
            <a:r>
              <a:rPr lang="en-US" sz="1400" dirty="0" smtClean="0">
                <a:solidFill>
                  <a:schemeClr val="tx1"/>
                </a:solidFill>
              </a:rPr>
              <a:t>access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Grants/withdraws permission to access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Audits access/ modification attempts</a:t>
            </a:r>
            <a:endParaRPr lang="en-US" sz="1400" dirty="0">
              <a:solidFill>
                <a:schemeClr val="tx1"/>
              </a:solidFill>
            </a:endParaRP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/>
                </a:solidFill>
              </a:rPr>
              <a:t>Corrective Actions</a:t>
            </a: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Encrypts data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Detect anomalous situation (high access req.) and informs people/another system</a:t>
            </a:r>
          </a:p>
          <a:p>
            <a:pPr marL="274320" lvl="3" indent="-91440"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chemeClr val="tx1"/>
                </a:solidFill>
              </a:rPr>
              <a:t>Restricts availability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162800" y="1447800"/>
            <a:ext cx="1828801" cy="43317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EASURABLE RESPONSE</a:t>
            </a:r>
          </a:p>
          <a:p>
            <a:pPr algn="ctr"/>
            <a:endParaRPr lang="en-US" sz="1400" u="sng" dirty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ime required to circumvent </a:t>
            </a:r>
            <a:r>
              <a:rPr lang="en-US" sz="1400" dirty="0">
                <a:solidFill>
                  <a:schemeClr val="tx1"/>
                </a:solidFill>
              </a:rPr>
              <a:t>security </a:t>
            </a:r>
            <a:r>
              <a:rPr lang="en-US" sz="1400" dirty="0" smtClean="0">
                <a:solidFill>
                  <a:schemeClr val="tx1"/>
                </a:solidFill>
              </a:rPr>
              <a:t>measure with </a:t>
            </a:r>
            <a:r>
              <a:rPr lang="en-US" sz="1400" dirty="0">
                <a:solidFill>
                  <a:schemeClr val="tx1"/>
                </a:solidFill>
              </a:rPr>
              <a:t>Probability of success </a:t>
            </a:r>
            <a:endParaRPr lang="en-US" sz="1400" dirty="0" smtClean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robability of detecting attack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robability of detecting the individual responsibl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%of services available during attack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ime to restore data/services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Extent of damage- how much data is vulnerabl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No of access denial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633850" y="2808884"/>
            <a:ext cx="961900" cy="1142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 services, data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3286" y="5807280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n insider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676400" y="5681667"/>
            <a:ext cx="17526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Updates payment details</a:t>
            </a:r>
            <a:endParaRPr lang="en-US" sz="1600" dirty="0"/>
          </a:p>
        </p:txBody>
      </p:sp>
      <p:sp>
        <p:nvSpPr>
          <p:cNvPr id="15" name="TextBox 14"/>
          <p:cNvSpPr txBox="1"/>
          <p:nvPr/>
        </p:nvSpPr>
        <p:spPr>
          <a:xfrm>
            <a:off x="4931228" y="5779532"/>
            <a:ext cx="211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Anomaly detected</a:t>
            </a:r>
          </a:p>
          <a:p>
            <a:r>
              <a:rPr lang="en-US" sz="1600" dirty="0" smtClean="0"/>
              <a:t>Audit trail maintained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7086599" y="5801219"/>
            <a:ext cx="18288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orrective action taken in 1 day</a:t>
            </a:r>
            <a:endParaRPr lang="en-US" sz="1600" dirty="0"/>
          </a:p>
        </p:txBody>
      </p:sp>
      <p:sp>
        <p:nvSpPr>
          <p:cNvPr id="17" name="TextBox 16"/>
          <p:cNvSpPr txBox="1"/>
          <p:nvPr/>
        </p:nvSpPr>
        <p:spPr>
          <a:xfrm>
            <a:off x="3505200" y="5558557"/>
            <a:ext cx="1219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ay database tab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807424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sz="4000" dirty="0" smtClean="0"/>
              <a:t>Security Tactics- Close to Physical Security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Detection:</a:t>
            </a:r>
          </a:p>
          <a:p>
            <a:pPr lvl="1"/>
            <a:r>
              <a:rPr lang="en-US" dirty="0" smtClean="0"/>
              <a:t>Limit the access through security checkpoints</a:t>
            </a:r>
          </a:p>
          <a:p>
            <a:pPr lvl="1"/>
            <a:r>
              <a:rPr lang="en-US" dirty="0" smtClean="0"/>
              <a:t>Enforces everyone to wear badges or checks legitimate visitors</a:t>
            </a:r>
          </a:p>
          <a:p>
            <a:r>
              <a:rPr lang="en-US" dirty="0" smtClean="0"/>
              <a:t>Resist</a:t>
            </a:r>
          </a:p>
          <a:p>
            <a:pPr lvl="1"/>
            <a:r>
              <a:rPr lang="en-US" dirty="0" smtClean="0"/>
              <a:t>Armed guards </a:t>
            </a:r>
          </a:p>
          <a:p>
            <a:r>
              <a:rPr lang="en-US" dirty="0" smtClean="0"/>
              <a:t>React</a:t>
            </a:r>
          </a:p>
          <a:p>
            <a:pPr lvl="1"/>
            <a:r>
              <a:rPr lang="en-US" dirty="0" smtClean="0"/>
              <a:t>Lock the door automatically</a:t>
            </a:r>
          </a:p>
          <a:p>
            <a:r>
              <a:rPr lang="en-US" dirty="0" smtClean="0"/>
              <a:t>Recover</a:t>
            </a:r>
          </a:p>
          <a:p>
            <a:pPr lvl="1"/>
            <a:r>
              <a:rPr lang="en-US" dirty="0" smtClean="0"/>
              <a:t>Keep backup of the data in a different plac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71AE830-EBDF-491E-A483-AA3FF30BED2C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34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Tactic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D6E3D62-2360-4BFB-819D-6F6C45A98EF0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60820752"/>
              </p:ext>
            </p:extLst>
          </p:nvPr>
        </p:nvGraphicFramePr>
        <p:xfrm>
          <a:off x="304800" y="1371600"/>
          <a:ext cx="83820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27271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etect Att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 sz="2500" dirty="0" smtClean="0"/>
              <a:t>Detect Intrusion: compare </a:t>
            </a:r>
            <a:r>
              <a:rPr lang="en-US" sz="2500" dirty="0"/>
              <a:t>network traffic or service request patterns </a:t>
            </a:r>
            <a:r>
              <a:rPr lang="en-US" sz="2500" i="1" dirty="0"/>
              <a:t>within</a:t>
            </a:r>
            <a:r>
              <a:rPr lang="en-US" sz="2500" dirty="0"/>
              <a:t> a system to </a:t>
            </a:r>
            <a:endParaRPr lang="en-US" sz="2500" dirty="0" smtClean="0"/>
          </a:p>
          <a:p>
            <a:pPr lvl="1"/>
            <a:r>
              <a:rPr lang="en-US" sz="2100" dirty="0" smtClean="0"/>
              <a:t>a </a:t>
            </a:r>
            <a:r>
              <a:rPr lang="en-US" sz="2100" dirty="0"/>
              <a:t>set of signatures or </a:t>
            </a:r>
            <a:endParaRPr lang="en-US" sz="2100" dirty="0" smtClean="0"/>
          </a:p>
          <a:p>
            <a:pPr lvl="1"/>
            <a:r>
              <a:rPr lang="en-US" sz="2100" dirty="0" smtClean="0"/>
              <a:t>known </a:t>
            </a:r>
            <a:r>
              <a:rPr lang="en-US" sz="2100" dirty="0"/>
              <a:t>patterns of malicious behavior stored in a database</a:t>
            </a:r>
            <a:r>
              <a:rPr lang="en-US" sz="2100" dirty="0" smtClean="0"/>
              <a:t>. </a:t>
            </a:r>
          </a:p>
          <a:p>
            <a:pPr lvl="0"/>
            <a:r>
              <a:rPr lang="en-US" sz="2500" dirty="0" smtClean="0"/>
              <a:t>Detect Service Denial: Compare the </a:t>
            </a:r>
            <a:r>
              <a:rPr lang="en-US" sz="2500" dirty="0"/>
              <a:t>pattern or signature of network traffic </a:t>
            </a:r>
            <a:r>
              <a:rPr lang="en-US" sz="2500" i="1" dirty="0"/>
              <a:t>coming</a:t>
            </a:r>
            <a:r>
              <a:rPr lang="en-US" sz="2500" dirty="0"/>
              <a:t> </a:t>
            </a:r>
            <a:r>
              <a:rPr lang="en-US" sz="2500" i="1" dirty="0"/>
              <a:t>into</a:t>
            </a:r>
            <a:r>
              <a:rPr lang="en-US" sz="2500" dirty="0"/>
              <a:t> a system to historic profiles of known Denial of Service (</a:t>
            </a:r>
            <a:r>
              <a:rPr lang="en-US" sz="2500" dirty="0" err="1"/>
              <a:t>DoS</a:t>
            </a:r>
            <a:r>
              <a:rPr lang="en-US" sz="2500" dirty="0"/>
              <a:t>) attacks</a:t>
            </a:r>
            <a:r>
              <a:rPr lang="en-US" sz="2500" dirty="0" smtClean="0"/>
              <a:t>.</a:t>
            </a:r>
          </a:p>
          <a:p>
            <a:pPr lvl="0"/>
            <a:r>
              <a:rPr lang="en-US" sz="2500" dirty="0" smtClean="0"/>
              <a:t>Verify Message Integrity: </a:t>
            </a:r>
          </a:p>
          <a:p>
            <a:pPr lvl="1"/>
            <a:r>
              <a:rPr lang="en-US" sz="2100" dirty="0" smtClean="0"/>
              <a:t>Use checksums </a:t>
            </a:r>
            <a:r>
              <a:rPr lang="en-US" sz="2100" dirty="0"/>
              <a:t>or hash values to verify the integrity of messages, resource files, deployment files, and configuration files</a:t>
            </a:r>
            <a:r>
              <a:rPr lang="en-US" sz="2100" dirty="0" smtClean="0"/>
              <a:t>. </a:t>
            </a:r>
          </a:p>
          <a:p>
            <a:pPr lvl="0"/>
            <a:r>
              <a:rPr lang="en-US" sz="2500" dirty="0" smtClean="0"/>
              <a:t>Detect Message Delay: </a:t>
            </a:r>
          </a:p>
          <a:p>
            <a:pPr lvl="1"/>
            <a:r>
              <a:rPr lang="en-US" sz="2100" dirty="0" smtClean="0"/>
              <a:t>checking </a:t>
            </a:r>
            <a:r>
              <a:rPr lang="en-US" sz="2100" dirty="0"/>
              <a:t>the time that it takes to deliver a message, it is possible to detect suspicious timing </a:t>
            </a:r>
            <a:r>
              <a:rPr lang="en-US" sz="2100" dirty="0" smtClean="0"/>
              <a:t>behavior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5081509-F5C4-4946-A197-A0D9532F3882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709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sist Att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en-US" dirty="0" smtClean="0"/>
              <a:t>Identify Actors: identify </a:t>
            </a:r>
            <a:r>
              <a:rPr lang="en-US" dirty="0"/>
              <a:t>the source of any external input to the system</a:t>
            </a:r>
            <a:r>
              <a:rPr lang="en-US" dirty="0" smtClean="0"/>
              <a:t>. </a:t>
            </a:r>
          </a:p>
          <a:p>
            <a:pPr lvl="0"/>
            <a:r>
              <a:rPr lang="en-US" dirty="0" smtClean="0"/>
              <a:t>Authenticate &amp; Authorize Actors: </a:t>
            </a:r>
          </a:p>
          <a:p>
            <a:pPr lvl="1"/>
            <a:r>
              <a:rPr lang="en-US" dirty="0" smtClean="0"/>
              <a:t>Use strong passwords, OTP, digital certificates, biometric identity </a:t>
            </a:r>
          </a:p>
          <a:p>
            <a:pPr lvl="1"/>
            <a:r>
              <a:rPr lang="en-US" dirty="0" smtClean="0"/>
              <a:t>Use access control pattern, define proper user class, user group, role based access</a:t>
            </a:r>
          </a:p>
          <a:p>
            <a:pPr lvl="0"/>
            <a:r>
              <a:rPr lang="en-US" dirty="0" smtClean="0"/>
              <a:t>Limit Access</a:t>
            </a:r>
            <a:endParaRPr lang="en-US" dirty="0"/>
          </a:p>
          <a:p>
            <a:pPr lvl="1"/>
            <a:r>
              <a:rPr lang="en-US" dirty="0" smtClean="0"/>
              <a:t>Restrict access based on message source or destination ports</a:t>
            </a:r>
          </a:p>
          <a:p>
            <a:pPr lvl="1"/>
            <a:r>
              <a:rPr lang="en-US" dirty="0" smtClean="0"/>
              <a:t>Use of DMZ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2A6AEAB-7665-4345-BA4D-0DEB89D48853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468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sist Att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Limit Exposure: minimize </a:t>
            </a:r>
            <a:r>
              <a:rPr lang="en-US" dirty="0"/>
              <a:t>the attack surface of a </a:t>
            </a:r>
            <a:r>
              <a:rPr lang="en-US" dirty="0" smtClean="0"/>
              <a:t>system by allocating limited number of services to each hosts</a:t>
            </a:r>
          </a:p>
          <a:p>
            <a:r>
              <a:rPr lang="en-US" dirty="0" smtClean="0"/>
              <a:t>Data confidentiality:</a:t>
            </a:r>
          </a:p>
          <a:p>
            <a:pPr lvl="1"/>
            <a:r>
              <a:rPr lang="en-US" dirty="0" smtClean="0"/>
              <a:t>Use encryption to encrypt data in database</a:t>
            </a:r>
          </a:p>
          <a:p>
            <a:pPr lvl="1"/>
            <a:r>
              <a:rPr lang="en-US" dirty="0" smtClean="0"/>
              <a:t>User encryption based communication such as SSL for web based transaction</a:t>
            </a:r>
          </a:p>
          <a:p>
            <a:pPr lvl="1"/>
            <a:r>
              <a:rPr lang="en-US" dirty="0" smtClean="0"/>
              <a:t>Use Virtual private network to communicate between two trusted machines</a:t>
            </a:r>
          </a:p>
          <a:p>
            <a:r>
              <a:rPr lang="en-US" dirty="0" smtClean="0"/>
              <a:t>Separate Entities: can </a:t>
            </a:r>
            <a:r>
              <a:rPr lang="en-US" dirty="0"/>
              <a:t>be done through physical separation on different servers </a:t>
            </a:r>
            <a:r>
              <a:rPr lang="en-US" dirty="0" smtClean="0"/>
              <a:t>attached </a:t>
            </a:r>
            <a:r>
              <a:rPr lang="en-US" dirty="0"/>
              <a:t>to different networks, the use of virtual </a:t>
            </a:r>
            <a:r>
              <a:rPr lang="en-US" dirty="0" smtClean="0"/>
              <a:t>machines, </a:t>
            </a:r>
            <a:r>
              <a:rPr lang="en-US" dirty="0"/>
              <a:t>or an “air </a:t>
            </a:r>
            <a:r>
              <a:rPr lang="en-US" dirty="0" smtClean="0"/>
              <a:t>gap”.</a:t>
            </a:r>
          </a:p>
          <a:p>
            <a:r>
              <a:rPr lang="en-US" dirty="0" smtClean="0"/>
              <a:t>Change Default Settings: Force </a:t>
            </a:r>
            <a:r>
              <a:rPr lang="en-US" dirty="0"/>
              <a:t>the user to change </a:t>
            </a:r>
            <a:r>
              <a:rPr lang="en-US" dirty="0" smtClean="0"/>
              <a:t>settings assigned by default.</a:t>
            </a:r>
            <a:endParaRPr lang="en-US" dirty="0"/>
          </a:p>
          <a:p>
            <a:pPr lvl="0"/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7EFF7B3-BF19-4613-BA60-F4B929FA26D0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85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796</TotalTime>
  <Words>2803</Words>
  <Application>Microsoft Office PowerPoint</Application>
  <PresentationFormat>On-screen Show (4:3)</PresentationFormat>
  <Paragraphs>469</Paragraphs>
  <Slides>35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7" baseType="lpstr">
      <vt:lpstr>Office Theme</vt:lpstr>
      <vt:lpstr>think-cell Slide</vt:lpstr>
      <vt:lpstr>SS ZG653: Software Architecture Lecture 4: System Quality- Security, Testability, Interoperability</vt:lpstr>
      <vt:lpstr>What is Security</vt:lpstr>
      <vt:lpstr>Important aspects of Security</vt:lpstr>
      <vt:lpstr>Security Scenario</vt:lpstr>
      <vt:lpstr>Security Tactics- Close to Physical Security</vt:lpstr>
      <vt:lpstr>Security Tactics</vt:lpstr>
      <vt:lpstr>Detect Attacks</vt:lpstr>
      <vt:lpstr>Resist Attacks</vt:lpstr>
      <vt:lpstr>Resist Attacks</vt:lpstr>
      <vt:lpstr>React to Attacks</vt:lpstr>
      <vt:lpstr>Recover From Attacks</vt:lpstr>
      <vt:lpstr>Design Checklist- Allocation of Responsibilities</vt:lpstr>
      <vt:lpstr>Design Checklist- Manage Data</vt:lpstr>
      <vt:lpstr>Design Checklist- Manage Coordination</vt:lpstr>
      <vt:lpstr>Design Checklist- Manage Resource</vt:lpstr>
      <vt:lpstr>Design checklist- Binding</vt:lpstr>
      <vt:lpstr>Design Checklist- Technology choice</vt:lpstr>
      <vt:lpstr>What is Testability</vt:lpstr>
      <vt:lpstr>Testable Software</vt:lpstr>
      <vt:lpstr>Testability Scenario</vt:lpstr>
      <vt:lpstr>Goal of Testability Tactics</vt:lpstr>
      <vt:lpstr>Testability Tactics</vt:lpstr>
      <vt:lpstr>Control and Observe System State</vt:lpstr>
      <vt:lpstr>Control and Observe System State</vt:lpstr>
      <vt:lpstr>Manage Complexity</vt:lpstr>
      <vt:lpstr>Internal Monitoring</vt:lpstr>
      <vt:lpstr>Design Checklist- Allocation of Responsibility</vt:lpstr>
      <vt:lpstr>Design Checklist- Testing Data</vt:lpstr>
      <vt:lpstr>Design Checklist- Testing Infrastructure</vt:lpstr>
      <vt:lpstr>Design Checklist- Testing resource binding</vt:lpstr>
      <vt:lpstr>Design Checklist- Resource Management</vt:lpstr>
      <vt:lpstr>Choice of Tools</vt:lpstr>
      <vt:lpstr>Interoperability</vt:lpstr>
      <vt:lpstr>Tactic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620</cp:revision>
  <dcterms:created xsi:type="dcterms:W3CDTF">2012-07-04T06:43:36Z</dcterms:created>
  <dcterms:modified xsi:type="dcterms:W3CDTF">2015-01-27T08:23:27Z</dcterms:modified>
</cp:coreProperties>
</file>